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8"/>
  </p:notesMasterIdLst>
  <p:sldIdLst>
    <p:sldId id="256" r:id="rId2"/>
    <p:sldId id="257" r:id="rId3"/>
    <p:sldId id="258" r:id="rId4"/>
    <p:sldId id="2145705951" r:id="rId5"/>
    <p:sldId id="2145705952" r:id="rId6"/>
    <p:sldId id="2145705953" r:id="rId7"/>
    <p:sldId id="2145705957" r:id="rId8"/>
    <p:sldId id="2145705961" r:id="rId9"/>
    <p:sldId id="2145705962" r:id="rId10"/>
    <p:sldId id="2145705964" r:id="rId11"/>
    <p:sldId id="2145705966" r:id="rId12"/>
    <p:sldId id="2145705967" r:id="rId13"/>
    <p:sldId id="2145705954" r:id="rId14"/>
    <p:sldId id="2145705955" r:id="rId15"/>
    <p:sldId id="2145705956" r:id="rId16"/>
    <p:sldId id="309" r:id="rId17"/>
    <p:sldId id="310" r:id="rId18"/>
    <p:sldId id="311" r:id="rId19"/>
    <p:sldId id="312" r:id="rId20"/>
    <p:sldId id="313" r:id="rId21"/>
    <p:sldId id="314" r:id="rId22"/>
    <p:sldId id="315" r:id="rId23"/>
    <p:sldId id="316" r:id="rId24"/>
    <p:sldId id="317" r:id="rId25"/>
    <p:sldId id="318" r:id="rId26"/>
    <p:sldId id="319" r:id="rId27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DE6F"/>
    <a:srgbClr val="00F67B"/>
    <a:srgbClr val="00D269"/>
    <a:srgbClr val="00FF7F"/>
    <a:srgbClr val="B5F5CC"/>
    <a:srgbClr val="006633"/>
    <a:srgbClr val="388C54"/>
    <a:srgbClr val="008040"/>
    <a:srgbClr val="356F47"/>
    <a:srgbClr val="3484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74" autoAdjust="0"/>
    <p:restoredTop sz="95373" autoAdjust="0"/>
  </p:normalViewPr>
  <p:slideViewPr>
    <p:cSldViewPr snapToGrid="0">
      <p:cViewPr varScale="1">
        <p:scale>
          <a:sx n="83" d="100"/>
          <a:sy n="83" d="100"/>
        </p:scale>
        <p:origin x="756" y="-50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69" Type="http://customschemas.google.com/relationships/presentationmetadata" Target="metadata"/><Relationship Id="rId8" Type="http://schemas.openxmlformats.org/officeDocument/2006/relationships/slide" Target="slides/slide7.xml"/><Relationship Id="rId7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4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5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6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7" name="Google Shape;197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8" name="Google Shape;198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0F138-E40B-4076-FE6B-8034001726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C38F2-1C28-6B57-7165-F746022EF1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953B64-7516-4533-E7EC-50A93A1449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6BC05A-8E84-35C1-579F-EBD26629377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42473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2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2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4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26.jp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26.jp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F3DC3-B574-0634-0367-AC478B9E6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6DC78C-A90A-9A81-671F-DCE36B1A2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23D635C-6174-B10D-AA1D-BB2F77577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2806"/>
            <a:ext cx="12192000" cy="601041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3EABA543-F72B-A7CE-0CB3-D77FFA34E102}"/>
              </a:ext>
            </a:extLst>
          </p:cNvPr>
          <p:cNvGrpSpPr/>
          <p:nvPr/>
        </p:nvGrpSpPr>
        <p:grpSpPr>
          <a:xfrm>
            <a:off x="215117" y="3026125"/>
            <a:ext cx="6438811" cy="1451897"/>
            <a:chOff x="1799607" y="1520076"/>
            <a:chExt cx="6438811" cy="1451897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35F49AC4-ECB1-1A15-7950-9E8ED2B7912A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95A4010F-EA99-3D54-7778-617EDBE79911}"/>
                </a:ext>
              </a:extLst>
            </p:cNvPr>
            <p:cNvCxnSpPr>
              <a:cxnSpLocks/>
              <a:stCxn id="74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9ECF22BA-7AE4-9B42-0D11-77AAA77929AA}"/>
                </a:ext>
              </a:extLst>
            </p:cNvPr>
            <p:cNvSpPr/>
            <p:nvPr/>
          </p:nvSpPr>
          <p:spPr>
            <a:xfrm>
              <a:off x="1799607" y="1576868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s</a:t>
              </a:r>
              <a:endParaRPr lang="en-US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09A1ADB-2E27-F995-1F63-747742E8CF29}"/>
              </a:ext>
            </a:extLst>
          </p:cNvPr>
          <p:cNvGrpSpPr/>
          <p:nvPr/>
        </p:nvGrpSpPr>
        <p:grpSpPr>
          <a:xfrm>
            <a:off x="215117" y="3855842"/>
            <a:ext cx="4855763" cy="1151537"/>
            <a:chOff x="120555" y="1615002"/>
            <a:chExt cx="4855763" cy="1151537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24467C66-0F91-3C9B-C0D7-2C5F031C04FC}"/>
                </a:ext>
              </a:extLst>
            </p:cNvPr>
            <p:cNvSpPr/>
            <p:nvPr/>
          </p:nvSpPr>
          <p:spPr>
            <a:xfrm>
              <a:off x="3565236" y="1615002"/>
              <a:ext cx="1411082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E8427A65-37DD-2428-D9DF-71746313F10F}"/>
                </a:ext>
              </a:extLst>
            </p:cNvPr>
            <p:cNvCxnSpPr>
              <a:cxnSpLocks/>
            </p:cNvCxnSpPr>
            <p:nvPr/>
          </p:nvCxnSpPr>
          <p:spPr>
            <a:xfrm>
              <a:off x="1461057" y="1758739"/>
              <a:ext cx="210417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225DD47-9A0C-59E4-0007-64B52942ED5E}"/>
                </a:ext>
              </a:extLst>
            </p:cNvPr>
            <p:cNvSpPr/>
            <p:nvPr/>
          </p:nvSpPr>
          <p:spPr>
            <a:xfrm>
              <a:off x="120555" y="1615003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Item</a:t>
              </a:r>
              <a:endParaRPr lang="en-US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229D9B2-1990-9488-52A8-4E63CA0A038C}"/>
              </a:ext>
            </a:extLst>
          </p:cNvPr>
          <p:cNvGrpSpPr/>
          <p:nvPr/>
        </p:nvGrpSpPr>
        <p:grpSpPr>
          <a:xfrm>
            <a:off x="215116" y="4145706"/>
            <a:ext cx="3360687" cy="669136"/>
            <a:chOff x="1543288" y="1615003"/>
            <a:chExt cx="3360687" cy="669136"/>
          </a:xfrm>
        </p:grpSpPr>
        <p:sp>
          <p:nvSpPr>
            <p:cNvPr id="80" name="Google Shape;229;g370fc456c4b_0_4">
              <a:extLst>
                <a:ext uri="{FF2B5EF4-FFF2-40B4-BE49-F238E27FC236}">
                  <a16:creationId xmlns:a16="http://schemas.microsoft.com/office/drawing/2014/main" id="{615F4AA7-3A28-718A-10C5-FD4D7BB3A20B}"/>
                </a:ext>
              </a:extLst>
            </p:cNvPr>
            <p:cNvSpPr/>
            <p:nvPr/>
          </p:nvSpPr>
          <p:spPr>
            <a:xfrm>
              <a:off x="3565236" y="1615003"/>
              <a:ext cx="1338739" cy="23740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1" name="Google Shape;230;g370fc456c4b_0_4">
              <a:extLst>
                <a:ext uri="{FF2B5EF4-FFF2-40B4-BE49-F238E27FC236}">
                  <a16:creationId xmlns:a16="http://schemas.microsoft.com/office/drawing/2014/main" id="{AC2A186C-8FB3-31FA-40DE-5832270581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A26EE254-C1EC-7600-E87D-E8AC0EEDB924}"/>
                </a:ext>
              </a:extLst>
            </p:cNvPr>
            <p:cNvSpPr/>
            <p:nvPr/>
          </p:nvSpPr>
          <p:spPr>
            <a:xfrm>
              <a:off x="1543288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7380682-B685-0F84-9AED-0689DC1E67D3}"/>
              </a:ext>
            </a:extLst>
          </p:cNvPr>
          <p:cNvGrpSpPr/>
          <p:nvPr/>
        </p:nvGrpSpPr>
        <p:grpSpPr>
          <a:xfrm>
            <a:off x="6965900" y="3328035"/>
            <a:ext cx="4972481" cy="1922813"/>
            <a:chOff x="3565236" y="843726"/>
            <a:chExt cx="4972481" cy="1922813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922EC4C5-A082-BF3A-A05F-54DB7499DAA0}"/>
                </a:ext>
              </a:extLst>
            </p:cNvPr>
            <p:cNvSpPr/>
            <p:nvPr/>
          </p:nvSpPr>
          <p:spPr>
            <a:xfrm>
              <a:off x="3565236" y="1615002"/>
              <a:ext cx="3224050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136ABA7D-FC61-721A-9588-0065EA01146A}"/>
                </a:ext>
              </a:extLst>
            </p:cNvPr>
            <p:cNvCxnSpPr>
              <a:cxnSpLocks/>
              <a:stCxn id="86" idx="2"/>
              <a:endCxn id="84" idx="3"/>
            </p:cNvCxnSpPr>
            <p:nvPr/>
          </p:nvCxnSpPr>
          <p:spPr>
            <a:xfrm flipH="1">
              <a:off x="6789286" y="1131198"/>
              <a:ext cx="1078181" cy="10595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1F5ECCE4-3DD7-9E0C-AA8B-CF8B8C99410B}"/>
                </a:ext>
              </a:extLst>
            </p:cNvPr>
            <p:cNvSpPr/>
            <p:nvPr/>
          </p:nvSpPr>
          <p:spPr>
            <a:xfrm>
              <a:off x="7197216" y="843726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BA9FFC4-3716-6D90-6057-C7B645F2D0FE}"/>
              </a:ext>
            </a:extLst>
          </p:cNvPr>
          <p:cNvGrpSpPr/>
          <p:nvPr/>
        </p:nvGrpSpPr>
        <p:grpSpPr>
          <a:xfrm>
            <a:off x="215116" y="5027008"/>
            <a:ext cx="6438811" cy="1151537"/>
            <a:chOff x="1765149" y="1615002"/>
            <a:chExt cx="6438811" cy="115153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DE79D67D-1E5E-D21B-B246-67D97168ED0D}"/>
                </a:ext>
              </a:extLst>
            </p:cNvPr>
            <p:cNvSpPr/>
            <p:nvPr/>
          </p:nvSpPr>
          <p:spPr>
            <a:xfrm>
              <a:off x="3565235" y="1615002"/>
              <a:ext cx="4638725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CF3C72D3-514B-B0EB-A0F1-7FA3680E15CF}"/>
                </a:ext>
              </a:extLst>
            </p:cNvPr>
            <p:cNvCxnSpPr>
              <a:cxnSpLocks/>
            </p:cNvCxnSpPr>
            <p:nvPr/>
          </p:nvCxnSpPr>
          <p:spPr>
            <a:xfrm>
              <a:off x="3105650" y="2128635"/>
              <a:ext cx="45958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88CEFBD-DC2D-C717-F691-C5BEB9A400D0}"/>
                </a:ext>
              </a:extLst>
            </p:cNvPr>
            <p:cNvSpPr/>
            <p:nvPr/>
          </p:nvSpPr>
          <p:spPr>
            <a:xfrm>
              <a:off x="1765149" y="1994370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613D08F-37C4-8FA3-AFFC-EEF1D44A00D7}"/>
              </a:ext>
            </a:extLst>
          </p:cNvPr>
          <p:cNvSpPr/>
          <p:nvPr/>
        </p:nvSpPr>
        <p:spPr>
          <a:xfrm>
            <a:off x="883239" y="169228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E429A694-CBE6-2412-0709-05E117533AFD}"/>
              </a:ext>
            </a:extLst>
          </p:cNvPr>
          <p:cNvSpPr/>
          <p:nvPr/>
        </p:nvSpPr>
        <p:spPr>
          <a:xfrm>
            <a:off x="10612950" y="15880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E302C48-7776-2B3E-0AEF-E450FDCE10E6}"/>
              </a:ext>
            </a:extLst>
          </p:cNvPr>
          <p:cNvGrpSpPr/>
          <p:nvPr/>
        </p:nvGrpSpPr>
        <p:grpSpPr>
          <a:xfrm>
            <a:off x="2842021" y="5075809"/>
            <a:ext cx="2499203" cy="348100"/>
            <a:chOff x="6527964" y="4230041"/>
            <a:chExt cx="2499203" cy="348100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7C9F08D7-B703-D485-51D6-51A25BB34E5C}"/>
                </a:ext>
              </a:extLst>
            </p:cNvPr>
            <p:cNvSpPr/>
            <p:nvPr/>
          </p:nvSpPr>
          <p:spPr>
            <a:xfrm>
              <a:off x="6527964" y="4405179"/>
              <a:ext cx="730851" cy="17296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6E9F7AF-AF4D-FF3D-FC74-633951E9344F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>
              <a:off x="7258815" y="4373777"/>
              <a:ext cx="323694" cy="1178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3D2F6000-9DF3-2506-1DA6-F8F31E300504}"/>
                </a:ext>
              </a:extLst>
            </p:cNvPr>
            <p:cNvSpPr/>
            <p:nvPr/>
          </p:nvSpPr>
          <p:spPr>
            <a:xfrm>
              <a:off x="7582509" y="4230041"/>
              <a:ext cx="144465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E354551-D7E0-6A05-D7EA-11D61EDD7B19}"/>
              </a:ext>
            </a:extLst>
          </p:cNvPr>
          <p:cNvGrpSpPr/>
          <p:nvPr/>
        </p:nvGrpSpPr>
        <p:grpSpPr>
          <a:xfrm>
            <a:off x="2842021" y="5423909"/>
            <a:ext cx="1969116" cy="287472"/>
            <a:chOff x="6527964" y="4392261"/>
            <a:chExt cx="1969116" cy="287472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BC4ABAD-7864-B50E-34AA-B99320D23752}"/>
                </a:ext>
              </a:extLst>
            </p:cNvPr>
            <p:cNvSpPr/>
            <p:nvPr/>
          </p:nvSpPr>
          <p:spPr>
            <a:xfrm>
              <a:off x="6527964" y="4405179"/>
              <a:ext cx="730851" cy="12453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F64DC640-0A7B-EE2B-4C8D-6D14FA6F47F6}"/>
                </a:ext>
              </a:extLst>
            </p:cNvPr>
            <p:cNvCxnSpPr>
              <a:cxnSpLocks/>
              <a:stCxn id="100" idx="1"/>
              <a:endCxn id="98" idx="3"/>
            </p:cNvCxnSpPr>
            <p:nvPr/>
          </p:nvCxnSpPr>
          <p:spPr>
            <a:xfrm flipH="1" flipV="1">
              <a:off x="7258815" y="4467449"/>
              <a:ext cx="323694" cy="6854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B9D9A3DC-B1AF-E503-08BB-28F13FD41740}"/>
                </a:ext>
              </a:extLst>
            </p:cNvPr>
            <p:cNvSpPr/>
            <p:nvPr/>
          </p:nvSpPr>
          <p:spPr>
            <a:xfrm>
              <a:off x="7582509" y="4392261"/>
              <a:ext cx="91457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DA2D001-3FD5-992A-1C09-B7659B2CC1C0}"/>
              </a:ext>
            </a:extLst>
          </p:cNvPr>
          <p:cNvGrpSpPr/>
          <p:nvPr/>
        </p:nvGrpSpPr>
        <p:grpSpPr>
          <a:xfrm>
            <a:off x="1980746" y="2375754"/>
            <a:ext cx="2228859" cy="287472"/>
            <a:chOff x="6527964" y="4318236"/>
            <a:chExt cx="2228859" cy="287472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C250F700-84B1-BC24-4638-95C718D3849F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BACF91E3-0341-49C7-9E5A-BB8AA017250A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BEC5A979-500C-1B6E-08B7-24B6617FE4DF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3C5A6B-EA81-629E-4321-5FB47F1C2E4C}"/>
              </a:ext>
            </a:extLst>
          </p:cNvPr>
          <p:cNvGrpSpPr/>
          <p:nvPr/>
        </p:nvGrpSpPr>
        <p:grpSpPr>
          <a:xfrm>
            <a:off x="2515374" y="1848278"/>
            <a:ext cx="2762383" cy="287472"/>
            <a:chOff x="6527964" y="4323685"/>
            <a:chExt cx="2762383" cy="287472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FFCB47A0-3D80-6395-903B-B651B217F0A2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7A65E716-C27B-0AAB-26F0-68B1A06815F4}"/>
                </a:ext>
              </a:extLst>
            </p:cNvPr>
            <p:cNvCxnSpPr>
              <a:cxnSpLocks/>
              <a:endCxn id="110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55DE2F1E-AE86-9DA0-509B-7FC45F74EC7B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F891707-8CB1-41A2-6893-1217E47D96F7}"/>
              </a:ext>
            </a:extLst>
          </p:cNvPr>
          <p:cNvGrpSpPr/>
          <p:nvPr/>
        </p:nvGrpSpPr>
        <p:grpSpPr>
          <a:xfrm>
            <a:off x="1986159" y="1383083"/>
            <a:ext cx="1653363" cy="287472"/>
            <a:chOff x="6580814" y="4323685"/>
            <a:chExt cx="1653363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192B72FA-DC4A-B532-F49A-4A8E6E1240F7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C8E4D8BE-66A3-F1EA-6678-CB2CFC698054}"/>
                </a:ext>
              </a:extLst>
            </p:cNvPr>
            <p:cNvCxnSpPr>
              <a:cxnSpLocks/>
              <a:endCxn id="114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18151A86-EEF7-B31C-CD42-C4A4907F1E5C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5997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15CB0-BC9D-1A7B-E61E-A3BDFCAE6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AB7E3D7-9A5F-8E88-51D7-331F0535489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C4ABF6-B9F9-5423-31A4-D192AC185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63776F-8312-06B5-4B5E-7A0A76D26F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4001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252399B-C6F1-A555-EF95-AB527A2EADD7}"/>
              </a:ext>
            </a:extLst>
          </p:cNvPr>
          <p:cNvGrpSpPr/>
          <p:nvPr/>
        </p:nvGrpSpPr>
        <p:grpSpPr>
          <a:xfrm>
            <a:off x="1995628" y="1496960"/>
            <a:ext cx="1653363" cy="287472"/>
            <a:chOff x="6580814" y="4323685"/>
            <a:chExt cx="1653363" cy="287472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00890A0-77BE-4CCB-C306-D4A7E0EA3610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D8F0FB28-3EB8-F113-783A-AF0BF80D0DFA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CDF0FA1-2FEA-AAC0-C0C6-766CB20E96FB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E9903F-FB8E-C317-F208-511D11CB04B6}"/>
              </a:ext>
            </a:extLst>
          </p:cNvPr>
          <p:cNvGrpSpPr/>
          <p:nvPr/>
        </p:nvGrpSpPr>
        <p:grpSpPr>
          <a:xfrm>
            <a:off x="2500584" y="1973261"/>
            <a:ext cx="2762383" cy="287472"/>
            <a:chOff x="6527964" y="4323685"/>
            <a:chExt cx="2762383" cy="287472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F0B061CE-E3F2-877F-4BF9-887DBB807BEC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1124BC5-2691-B805-147C-7C65BF68E7CE}"/>
                </a:ext>
              </a:extLst>
            </p:cNvPr>
            <p:cNvCxnSpPr>
              <a:cxnSpLocks/>
              <a:endCxn id="11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0E1CA35-BA5B-F9E1-3739-BD62A298BB03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F7A590-1E51-E953-E732-C3C96A4C410C}"/>
              </a:ext>
            </a:extLst>
          </p:cNvPr>
          <p:cNvGrpSpPr/>
          <p:nvPr/>
        </p:nvGrpSpPr>
        <p:grpSpPr>
          <a:xfrm>
            <a:off x="535511" y="2865202"/>
            <a:ext cx="6041678" cy="1451897"/>
            <a:chOff x="2196740" y="1520076"/>
            <a:chExt cx="6041678" cy="1451897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E3E268B3-63C2-ED97-5508-1D05A11EC493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B8865F72-D0DF-F9E3-4F99-5A5EE4468649}"/>
                </a:ext>
              </a:extLst>
            </p:cNvPr>
            <p:cNvCxnSpPr>
              <a:cxnSpLocks/>
              <a:stCxn id="17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3CD48EC-25FC-7152-D02A-7E7F26BC2F46}"/>
                </a:ext>
              </a:extLst>
            </p:cNvPr>
            <p:cNvSpPr/>
            <p:nvPr/>
          </p:nvSpPr>
          <p:spPr>
            <a:xfrm>
              <a:off x="2196740" y="1576868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C08205-37D2-8EA2-AED8-B8D8BBF0ED86}"/>
              </a:ext>
            </a:extLst>
          </p:cNvPr>
          <p:cNvGrpSpPr/>
          <p:nvPr/>
        </p:nvGrpSpPr>
        <p:grpSpPr>
          <a:xfrm>
            <a:off x="138378" y="3123153"/>
            <a:ext cx="6273147" cy="669136"/>
            <a:chOff x="1670567" y="1615003"/>
            <a:chExt cx="6273147" cy="669136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0C70436A-98AE-8596-13E0-27501C1B2B29}"/>
                </a:ext>
              </a:extLst>
            </p:cNvPr>
            <p:cNvSpPr/>
            <p:nvPr/>
          </p:nvSpPr>
          <p:spPr>
            <a:xfrm>
              <a:off x="3565236" y="1615003"/>
              <a:ext cx="4378478" cy="218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A26FEACA-42BB-2598-AB7E-44072F2788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06A07B1-72E2-B91E-B81C-161A528F0D20}"/>
                </a:ext>
              </a:extLst>
            </p:cNvPr>
            <p:cNvSpPr/>
            <p:nvPr/>
          </p:nvSpPr>
          <p:spPr>
            <a:xfrm>
              <a:off x="1670567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</a:t>
              </a:r>
              <a:endParaRPr lang="en-US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37B7AB-DCC4-C3D6-A94D-126C6E6CB899}"/>
              </a:ext>
            </a:extLst>
          </p:cNvPr>
          <p:cNvGrpSpPr/>
          <p:nvPr/>
        </p:nvGrpSpPr>
        <p:grpSpPr>
          <a:xfrm>
            <a:off x="4467222" y="3441996"/>
            <a:ext cx="1699091" cy="1445541"/>
            <a:chOff x="2089106" y="1615003"/>
            <a:chExt cx="1699091" cy="1445541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1F8B51CD-B774-3E94-860F-6D827A597D42}"/>
                </a:ext>
              </a:extLst>
            </p:cNvPr>
            <p:cNvSpPr/>
            <p:nvPr/>
          </p:nvSpPr>
          <p:spPr>
            <a:xfrm>
              <a:off x="3583818" y="1615003"/>
              <a:ext cx="204379" cy="17888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55EC0176-D519-A5DB-13CB-061A9FE38B6A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3003506" y="1793886"/>
              <a:ext cx="682502" cy="97559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AB946DD-9104-3889-B374-FE417E930196}"/>
                </a:ext>
              </a:extLst>
            </p:cNvPr>
            <p:cNvSpPr/>
            <p:nvPr/>
          </p:nvSpPr>
          <p:spPr>
            <a:xfrm>
              <a:off x="2089106" y="2773072"/>
              <a:ext cx="94230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4B5978-E034-2608-5F48-EE906AA1B967}"/>
              </a:ext>
            </a:extLst>
          </p:cNvPr>
          <p:cNvGrpSpPr/>
          <p:nvPr/>
        </p:nvGrpSpPr>
        <p:grpSpPr>
          <a:xfrm>
            <a:off x="2031286" y="3728152"/>
            <a:ext cx="1883529" cy="588947"/>
            <a:chOff x="6562598" y="4358984"/>
            <a:chExt cx="1883529" cy="588947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B35042D9-5F93-1BEE-A780-9D1D146CA342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FAF9211-114C-ABAF-81A4-87C63A5CCBB0}"/>
                </a:ext>
              </a:extLst>
            </p:cNvPr>
            <p:cNvCxnSpPr>
              <a:cxnSpLocks/>
              <a:stCxn id="30" idx="1"/>
              <a:endCxn id="28" idx="2"/>
            </p:cNvCxnSpPr>
            <p:nvPr/>
          </p:nvCxnSpPr>
          <p:spPr>
            <a:xfrm flipH="1" flipV="1">
              <a:off x="6650923" y="4577334"/>
              <a:ext cx="182678" cy="22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E781B03-24F0-85FD-D9E9-79B637DF4DD5}"/>
                </a:ext>
              </a:extLst>
            </p:cNvPr>
            <p:cNvSpPr/>
            <p:nvPr/>
          </p:nvSpPr>
          <p:spPr>
            <a:xfrm>
              <a:off x="6833601" y="4660459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F40E162-76CF-0444-F949-66453BD06CE7}"/>
              </a:ext>
            </a:extLst>
          </p:cNvPr>
          <p:cNvGrpSpPr/>
          <p:nvPr/>
        </p:nvGrpSpPr>
        <p:grpSpPr>
          <a:xfrm>
            <a:off x="2249415" y="3672940"/>
            <a:ext cx="2003297" cy="287472"/>
            <a:chOff x="6562598" y="4296771"/>
            <a:chExt cx="2003297" cy="287472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56433FF4-DD52-34BA-8CC0-7D7DC7114CF1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691A5C9E-E5A4-0F47-E995-7E55DCD685AE}"/>
                </a:ext>
              </a:extLst>
            </p:cNvPr>
            <p:cNvCxnSpPr>
              <a:cxnSpLocks/>
              <a:stCxn id="55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B8F4E727-5EE0-9F51-D8CC-D4FB5D8AA22B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2EAF215-48BA-16F3-CB72-520127591001}"/>
              </a:ext>
            </a:extLst>
          </p:cNvPr>
          <p:cNvGrpSpPr/>
          <p:nvPr/>
        </p:nvGrpSpPr>
        <p:grpSpPr>
          <a:xfrm>
            <a:off x="4373748" y="3385468"/>
            <a:ext cx="1545998" cy="287472"/>
            <a:chOff x="5474738" y="4310774"/>
            <a:chExt cx="1545998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F6EAC7EF-6C0A-9D05-BC61-65795BDA7A32}"/>
                </a:ext>
              </a:extLst>
            </p:cNvPr>
            <p:cNvSpPr/>
            <p:nvPr/>
          </p:nvSpPr>
          <p:spPr>
            <a:xfrm>
              <a:off x="6510518" y="4367302"/>
              <a:ext cx="510218" cy="17888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F9908AE6-AE9F-63FD-03C6-A66D121B7188}"/>
                </a:ext>
              </a:extLst>
            </p:cNvPr>
            <p:cNvCxnSpPr>
              <a:cxnSpLocks/>
              <a:endCxn id="60" idx="1"/>
            </p:cNvCxnSpPr>
            <p:nvPr/>
          </p:nvCxnSpPr>
          <p:spPr>
            <a:xfrm flipV="1">
              <a:off x="6287556" y="4456744"/>
              <a:ext cx="222962" cy="114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4923B177-45B7-624F-32FD-66813EB92524}"/>
                </a:ext>
              </a:extLst>
            </p:cNvPr>
            <p:cNvSpPr/>
            <p:nvPr/>
          </p:nvSpPr>
          <p:spPr>
            <a:xfrm>
              <a:off x="5474738" y="4310774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eD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BFF99AC-8973-F015-FEB8-D6BC801E2E1E}"/>
              </a:ext>
            </a:extLst>
          </p:cNvPr>
          <p:cNvSpPr/>
          <p:nvPr/>
        </p:nvSpPr>
        <p:spPr>
          <a:xfrm>
            <a:off x="3772076" y="4600065"/>
            <a:ext cx="57748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47B41DFC-54A5-F5C6-AC21-3B7F3600BA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1246" y="1752537"/>
            <a:ext cx="2143909" cy="2697953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569D46F0-F01A-FE61-2C65-167B0763DBA6}"/>
              </a:ext>
            </a:extLst>
          </p:cNvPr>
          <p:cNvGrpSpPr/>
          <p:nvPr/>
        </p:nvGrpSpPr>
        <p:grpSpPr>
          <a:xfrm>
            <a:off x="10659993" y="3602531"/>
            <a:ext cx="806370" cy="1091373"/>
            <a:chOff x="6489606" y="4355580"/>
            <a:chExt cx="806370" cy="1091373"/>
          </a:xfrm>
        </p:grpSpPr>
        <p:sp>
          <p:nvSpPr>
            <p:cNvPr id="85" name="Google Shape;229;g370fc456c4b_0_4">
              <a:extLst>
                <a:ext uri="{FF2B5EF4-FFF2-40B4-BE49-F238E27FC236}">
                  <a16:creationId xmlns:a16="http://schemas.microsoft.com/office/drawing/2014/main" id="{F65907B7-9B80-A0A5-0147-5C5E0000F11F}"/>
                </a:ext>
              </a:extLst>
            </p:cNvPr>
            <p:cNvSpPr/>
            <p:nvPr/>
          </p:nvSpPr>
          <p:spPr>
            <a:xfrm>
              <a:off x="6580814" y="4355580"/>
              <a:ext cx="623954" cy="4725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6" name="Google Shape;230;g370fc456c4b_0_4">
              <a:extLst>
                <a:ext uri="{FF2B5EF4-FFF2-40B4-BE49-F238E27FC236}">
                  <a16:creationId xmlns:a16="http://schemas.microsoft.com/office/drawing/2014/main" id="{E5E16959-8A9E-83F8-FB82-28F2E9ECD82B}"/>
                </a:ext>
              </a:extLst>
            </p:cNvPr>
            <p:cNvCxnSpPr>
              <a:cxnSpLocks/>
              <a:endCxn id="85" idx="2"/>
            </p:cNvCxnSpPr>
            <p:nvPr/>
          </p:nvCxnSpPr>
          <p:spPr>
            <a:xfrm flipV="1">
              <a:off x="6892791" y="4828092"/>
              <a:ext cx="0" cy="3351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8AD29B84-2902-914E-4A45-6F6A455D7877}"/>
                </a:ext>
              </a:extLst>
            </p:cNvPr>
            <p:cNvSpPr/>
            <p:nvPr/>
          </p:nvSpPr>
          <p:spPr>
            <a:xfrm>
              <a:off x="6489606" y="5159481"/>
              <a:ext cx="80637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1291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1E812-D362-469A-320E-0B0CA4885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1025121-7B54-A5A0-A091-6FE1A4A9DE6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44A57-BC45-5523-ED71-DE290030B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4542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5902379" y="1753431"/>
            <a:ext cx="17771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Google Shape;225;g370fc456c4b_0_4">
            <a:extLst>
              <a:ext uri="{FF2B5EF4-FFF2-40B4-BE49-F238E27FC236}">
                <a16:creationId xmlns:a16="http://schemas.microsoft.com/office/drawing/2014/main" id="{41181921-74BA-0B20-EE41-83E7211D4DA8}"/>
              </a:ext>
            </a:extLst>
          </p:cNvPr>
          <p:cNvSpPr txBox="1"/>
          <p:nvPr/>
        </p:nvSpPr>
        <p:spPr>
          <a:xfrm>
            <a:off x="5918603" y="1703615"/>
            <a:ext cx="1760892" cy="33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1541409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 flipH="1">
            <a:off x="5423746" y="1912933"/>
            <a:ext cx="478633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79" name="Google Shape;229;g370fc456c4b_0_4">
            <a:extLst>
              <a:ext uri="{FF2B5EF4-FFF2-40B4-BE49-F238E27FC236}">
                <a16:creationId xmlns:a16="http://schemas.microsoft.com/office/drawing/2014/main" id="{F4FEBCBE-082C-86C3-59DE-19D8AD322BD3}"/>
              </a:ext>
            </a:extLst>
          </p:cNvPr>
          <p:cNvSpPr/>
          <p:nvPr/>
        </p:nvSpPr>
        <p:spPr>
          <a:xfrm>
            <a:off x="3882337" y="2250484"/>
            <a:ext cx="892421" cy="914135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80" name="Google Shape;229;g370fc456c4b_0_4">
            <a:extLst>
              <a:ext uri="{FF2B5EF4-FFF2-40B4-BE49-F238E27FC236}">
                <a16:creationId xmlns:a16="http://schemas.microsoft.com/office/drawing/2014/main" id="{9AF5BC69-9F7D-233C-5541-3AA2F2824E90}"/>
              </a:ext>
            </a:extLst>
          </p:cNvPr>
          <p:cNvSpPr/>
          <p:nvPr/>
        </p:nvSpPr>
        <p:spPr>
          <a:xfrm>
            <a:off x="3868010" y="3958536"/>
            <a:ext cx="2202511" cy="1130709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81" name="Google Shape;230;g370fc456c4b_0_4">
            <a:extLst>
              <a:ext uri="{FF2B5EF4-FFF2-40B4-BE49-F238E27FC236}">
                <a16:creationId xmlns:a16="http://schemas.microsoft.com/office/drawing/2014/main" id="{F355564D-787F-6642-E26A-29391E52CF92}"/>
              </a:ext>
            </a:extLst>
          </p:cNvPr>
          <p:cNvCxnSpPr>
            <a:cxnSpLocks/>
          </p:cNvCxnSpPr>
          <p:nvPr/>
        </p:nvCxnSpPr>
        <p:spPr>
          <a:xfrm flipV="1">
            <a:off x="3504778" y="4523890"/>
            <a:ext cx="350441" cy="245396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8EEC326-FE5B-0E4B-87E5-BA0A6E6C7827}"/>
              </a:ext>
            </a:extLst>
          </p:cNvPr>
          <p:cNvGrpSpPr/>
          <p:nvPr/>
        </p:nvGrpSpPr>
        <p:grpSpPr>
          <a:xfrm>
            <a:off x="3974733" y="5096038"/>
            <a:ext cx="2634532" cy="355118"/>
            <a:chOff x="3514477" y="5039900"/>
            <a:chExt cx="2634532" cy="355118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833036AF-6DA1-FD23-89DE-802CCC316AE1}"/>
                </a:ext>
              </a:extLst>
            </p:cNvPr>
            <p:cNvSpPr/>
            <p:nvPr/>
          </p:nvSpPr>
          <p:spPr>
            <a:xfrm>
              <a:off x="3514477" y="5155098"/>
              <a:ext cx="1264257" cy="19613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43141398-ED1C-DB87-5B61-7BB74D4BF73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78734" y="5248420"/>
              <a:ext cx="25789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DF4116D-95CA-295E-EF21-46A88B8E90D1}"/>
                </a:ext>
              </a:extLst>
            </p:cNvPr>
            <p:cNvSpPr/>
            <p:nvPr/>
          </p:nvSpPr>
          <p:spPr>
            <a:xfrm>
              <a:off x="5048758" y="508971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Google Shape;225;g370fc456c4b_0_4">
              <a:extLst>
                <a:ext uri="{FF2B5EF4-FFF2-40B4-BE49-F238E27FC236}">
                  <a16:creationId xmlns:a16="http://schemas.microsoft.com/office/drawing/2014/main" id="{7BA1C271-359B-7489-1734-834E87DD8829}"/>
                </a:ext>
              </a:extLst>
            </p:cNvPr>
            <p:cNvSpPr txBox="1"/>
            <p:nvPr/>
          </p:nvSpPr>
          <p:spPr>
            <a:xfrm>
              <a:off x="5064982" y="503990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723949" y="5836850"/>
            <a:ext cx="1701978" cy="355118"/>
            <a:chOff x="2235472" y="5051827"/>
            <a:chExt cx="1701978" cy="355118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endCxn id="88" idx="1"/>
            </p:cNvCxnSpPr>
            <p:nvPr/>
          </p:nvCxnSpPr>
          <p:spPr>
            <a:xfrm>
              <a:off x="3331747" y="5262898"/>
              <a:ext cx="18273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2235472" y="5101643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Google Shape;225;g370fc456c4b_0_4">
              <a:extLst>
                <a:ext uri="{FF2B5EF4-FFF2-40B4-BE49-F238E27FC236}">
                  <a16:creationId xmlns:a16="http://schemas.microsoft.com/office/drawing/2014/main" id="{EECD44CB-A32D-6AAD-D714-8B6750419BD8}"/>
                </a:ext>
              </a:extLst>
            </p:cNvPr>
            <p:cNvSpPr txBox="1"/>
            <p:nvPr/>
          </p:nvSpPr>
          <p:spPr>
            <a:xfrm>
              <a:off x="2251696" y="5051827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964A08F6-2893-A213-E555-DA78D21781FD}"/>
              </a:ext>
            </a:extLst>
          </p:cNvPr>
          <p:cNvGrpSpPr/>
          <p:nvPr/>
        </p:nvGrpSpPr>
        <p:grpSpPr>
          <a:xfrm>
            <a:off x="4425927" y="5842527"/>
            <a:ext cx="1761519" cy="355118"/>
            <a:chOff x="3514477" y="5041066"/>
            <a:chExt cx="1761519" cy="355118"/>
          </a:xfrm>
        </p:grpSpPr>
        <p:sp>
          <p:nvSpPr>
            <p:cNvPr id="93" name="Google Shape;229;g370fc456c4b_0_4">
              <a:extLst>
                <a:ext uri="{FF2B5EF4-FFF2-40B4-BE49-F238E27FC236}">
                  <a16:creationId xmlns:a16="http://schemas.microsoft.com/office/drawing/2014/main" id="{C00F6495-1CC1-A264-FB19-D6DE47A96FF7}"/>
                </a:ext>
              </a:extLst>
            </p:cNvPr>
            <p:cNvSpPr/>
            <p:nvPr/>
          </p:nvSpPr>
          <p:spPr>
            <a:xfrm>
              <a:off x="3514477" y="5162640"/>
              <a:ext cx="465311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4" name="Google Shape;230;g370fc456c4b_0_4">
              <a:extLst>
                <a:ext uri="{FF2B5EF4-FFF2-40B4-BE49-F238E27FC236}">
                  <a16:creationId xmlns:a16="http://schemas.microsoft.com/office/drawing/2014/main" id="{2E0E37B9-3EE5-0F4B-FE03-4D689CF52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9788" y="5250971"/>
              <a:ext cx="1921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5" name="Rectangle: Rounded Corners 94">
              <a:extLst>
                <a:ext uri="{FF2B5EF4-FFF2-40B4-BE49-F238E27FC236}">
                  <a16:creationId xmlns:a16="http://schemas.microsoft.com/office/drawing/2014/main" id="{13139D3E-1C9D-D7BF-611B-D6D91E80DE47}"/>
                </a:ext>
              </a:extLst>
            </p:cNvPr>
            <p:cNvSpPr/>
            <p:nvPr/>
          </p:nvSpPr>
          <p:spPr>
            <a:xfrm>
              <a:off x="4175745" y="509088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Google Shape;225;g370fc456c4b_0_4">
              <a:extLst>
                <a:ext uri="{FF2B5EF4-FFF2-40B4-BE49-F238E27FC236}">
                  <a16:creationId xmlns:a16="http://schemas.microsoft.com/office/drawing/2014/main" id="{ADC7C106-248C-FC88-B32E-C820BE68A9E3}"/>
                </a:ext>
              </a:extLst>
            </p:cNvPr>
            <p:cNvSpPr txBox="1"/>
            <p:nvPr/>
          </p:nvSpPr>
          <p:spPr>
            <a:xfrm>
              <a:off x="4191969" y="504106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2EAF277-3A9D-627E-5740-D472E40CDEC1}"/>
              </a:ext>
            </a:extLst>
          </p:cNvPr>
          <p:cNvGrpSpPr/>
          <p:nvPr/>
        </p:nvGrpSpPr>
        <p:grpSpPr>
          <a:xfrm>
            <a:off x="2309643" y="5354676"/>
            <a:ext cx="3592736" cy="501494"/>
            <a:chOff x="1870040" y="4969284"/>
            <a:chExt cx="3592736" cy="501494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E38FE07-A422-8FC4-A74B-5C78020CBC2B}"/>
                </a:ext>
              </a:extLst>
            </p:cNvPr>
            <p:cNvSpPr/>
            <p:nvPr/>
          </p:nvSpPr>
          <p:spPr>
            <a:xfrm>
              <a:off x="3514478" y="5174568"/>
              <a:ext cx="1948298" cy="29621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A73B4519-6122-F132-B254-83AFB3FA6E4D}"/>
                </a:ext>
              </a:extLst>
            </p:cNvPr>
            <p:cNvCxnSpPr>
              <a:cxnSpLocks/>
              <a:stCxn id="100" idx="3"/>
              <a:endCxn id="98" idx="1"/>
            </p:cNvCxnSpPr>
            <p:nvPr/>
          </p:nvCxnSpPr>
          <p:spPr>
            <a:xfrm>
              <a:off x="2966315" y="5171751"/>
              <a:ext cx="548163" cy="15092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A9F18237-F4C5-0806-A8FF-CB6EBC4723E2}"/>
                </a:ext>
              </a:extLst>
            </p:cNvPr>
            <p:cNvSpPr/>
            <p:nvPr/>
          </p:nvSpPr>
          <p:spPr>
            <a:xfrm>
              <a:off x="1870040" y="5019100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Google Shape;225;g370fc456c4b_0_4">
              <a:extLst>
                <a:ext uri="{FF2B5EF4-FFF2-40B4-BE49-F238E27FC236}">
                  <a16:creationId xmlns:a16="http://schemas.microsoft.com/office/drawing/2014/main" id="{CD8C5640-D974-195E-CD20-AE99056EB8B4}"/>
                </a:ext>
              </a:extLst>
            </p:cNvPr>
            <p:cNvSpPr txBox="1"/>
            <p:nvPr/>
          </p:nvSpPr>
          <p:spPr>
            <a:xfrm>
              <a:off x="1886264" y="4969284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3910577" y="3506956"/>
            <a:ext cx="3702133" cy="355118"/>
            <a:chOff x="3514477" y="5043705"/>
            <a:chExt cx="3702133" cy="35511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155098"/>
              <a:ext cx="2329878" cy="19613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53346" y="5248130"/>
              <a:ext cx="25789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6116359" y="5093521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Google Shape;225;g370fc456c4b_0_4">
              <a:extLst>
                <a:ext uri="{FF2B5EF4-FFF2-40B4-BE49-F238E27FC236}">
                  <a16:creationId xmlns:a16="http://schemas.microsoft.com/office/drawing/2014/main" id="{EC0F61F3-2BA5-500A-C8BC-9AD50263B90F}"/>
                </a:ext>
              </a:extLst>
            </p:cNvPr>
            <p:cNvSpPr txBox="1"/>
            <p:nvPr/>
          </p:nvSpPr>
          <p:spPr>
            <a:xfrm>
              <a:off x="6132583" y="5043705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0F60F5-CE61-3C1C-2EEF-68C1D4CD84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11B5EFF-087B-C317-EE86-2496106FE11F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0E7303-2EE5-BEC2-4B0F-FA79B0975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16BF11-1A7D-4865-7F4C-8AAB1ABC2F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098000"/>
            <a:ext cx="12228057" cy="689768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A8DC18D-EA57-4A65-FF4A-445CF93C2A15}"/>
              </a:ext>
            </a:extLst>
          </p:cNvPr>
          <p:cNvGrpSpPr/>
          <p:nvPr/>
        </p:nvGrpSpPr>
        <p:grpSpPr>
          <a:xfrm>
            <a:off x="2461008" y="1439107"/>
            <a:ext cx="1100251" cy="1498899"/>
            <a:chOff x="3226445" y="4121583"/>
            <a:chExt cx="1100251" cy="1498899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E299029F-01A6-1C5E-D757-E58A00C1651E}"/>
                </a:ext>
              </a:extLst>
            </p:cNvPr>
            <p:cNvSpPr/>
            <p:nvPr/>
          </p:nvSpPr>
          <p:spPr>
            <a:xfrm>
              <a:off x="3514477" y="5155097"/>
              <a:ext cx="479190" cy="4653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453A25F7-DF91-D8B0-BA50-63A57D056392}"/>
                </a:ext>
              </a:extLst>
            </p:cNvPr>
            <p:cNvCxnSpPr>
              <a:cxnSpLocks/>
            </p:cNvCxnSpPr>
            <p:nvPr/>
          </p:nvCxnSpPr>
          <p:spPr>
            <a:xfrm>
              <a:off x="3758178" y="4515252"/>
              <a:ext cx="0" cy="63984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5685869-8804-4367-577A-8534C55BF6B9}"/>
                </a:ext>
              </a:extLst>
            </p:cNvPr>
            <p:cNvSpPr/>
            <p:nvPr/>
          </p:nvSpPr>
          <p:spPr>
            <a:xfrm>
              <a:off x="3226445" y="417139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Google Shape;225;g370fc456c4b_0_4">
              <a:extLst>
                <a:ext uri="{FF2B5EF4-FFF2-40B4-BE49-F238E27FC236}">
                  <a16:creationId xmlns:a16="http://schemas.microsoft.com/office/drawing/2014/main" id="{F86F7E0F-A1B2-5B3B-94D7-0873EBF330B2}"/>
                </a:ext>
              </a:extLst>
            </p:cNvPr>
            <p:cNvSpPr txBox="1"/>
            <p:nvPr/>
          </p:nvSpPr>
          <p:spPr>
            <a:xfrm>
              <a:off x="3242669" y="4121583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3EC6699-C91C-212E-B8B1-11EFEBAD5824}"/>
              </a:ext>
            </a:extLst>
          </p:cNvPr>
          <p:cNvGrpSpPr/>
          <p:nvPr/>
        </p:nvGrpSpPr>
        <p:grpSpPr>
          <a:xfrm>
            <a:off x="3287483" y="2515038"/>
            <a:ext cx="3130026" cy="355118"/>
            <a:chOff x="3514476" y="5061816"/>
            <a:chExt cx="3130026" cy="355118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E321639E-9FCB-8051-766D-DC1262E3A0E2}"/>
                </a:ext>
              </a:extLst>
            </p:cNvPr>
            <p:cNvSpPr/>
            <p:nvPr/>
          </p:nvSpPr>
          <p:spPr>
            <a:xfrm>
              <a:off x="3514476" y="5155098"/>
              <a:ext cx="1610515" cy="2183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621A5E58-6A8B-8317-2AD1-37D61883D509}"/>
                </a:ext>
              </a:extLst>
            </p:cNvPr>
            <p:cNvCxnSpPr>
              <a:cxnSpLocks/>
              <a:stCxn id="19" idx="1"/>
              <a:endCxn id="17" idx="3"/>
            </p:cNvCxnSpPr>
            <p:nvPr/>
          </p:nvCxnSpPr>
          <p:spPr>
            <a:xfrm flipH="1">
              <a:off x="5124991" y="5264283"/>
              <a:ext cx="419260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19DAE58-843B-ABB5-DBBC-A80693FC7BE2}"/>
                </a:ext>
              </a:extLst>
            </p:cNvPr>
            <p:cNvSpPr/>
            <p:nvPr/>
          </p:nvSpPr>
          <p:spPr>
            <a:xfrm>
              <a:off x="5544251" y="511163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Google Shape;225;g370fc456c4b_0_4">
              <a:extLst>
                <a:ext uri="{FF2B5EF4-FFF2-40B4-BE49-F238E27FC236}">
                  <a16:creationId xmlns:a16="http://schemas.microsoft.com/office/drawing/2014/main" id="{224687C1-6A70-B8B9-A9DE-5D1E0EC59A06}"/>
                </a:ext>
              </a:extLst>
            </p:cNvPr>
            <p:cNvSpPr txBox="1"/>
            <p:nvPr/>
          </p:nvSpPr>
          <p:spPr>
            <a:xfrm>
              <a:off x="5560475" y="506181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783F008-CE2C-1814-52EA-2383754A8D0B}"/>
              </a:ext>
            </a:extLst>
          </p:cNvPr>
          <p:cNvGrpSpPr/>
          <p:nvPr/>
        </p:nvGrpSpPr>
        <p:grpSpPr>
          <a:xfrm>
            <a:off x="1094525" y="4600197"/>
            <a:ext cx="3743289" cy="381156"/>
            <a:chOff x="1765466" y="5131320"/>
            <a:chExt cx="3743289" cy="381156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56D8CA4B-1FA7-520A-EC3F-3353CB3F4866}"/>
                </a:ext>
              </a:extLst>
            </p:cNvPr>
            <p:cNvSpPr/>
            <p:nvPr/>
          </p:nvSpPr>
          <p:spPr>
            <a:xfrm>
              <a:off x="3514476" y="5155098"/>
              <a:ext cx="1994279" cy="3573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7214E54F-DE37-5A29-CE81-BAF0227284AA}"/>
                </a:ext>
              </a:extLst>
            </p:cNvPr>
            <p:cNvCxnSpPr>
              <a:cxnSpLocks/>
              <a:endCxn id="25" idx="1"/>
            </p:cNvCxnSpPr>
            <p:nvPr/>
          </p:nvCxnSpPr>
          <p:spPr>
            <a:xfrm>
              <a:off x="2917184" y="5333787"/>
              <a:ext cx="597292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D0697A0-3660-2691-21C3-571112FEE91D}"/>
                </a:ext>
              </a:extLst>
            </p:cNvPr>
            <p:cNvSpPr/>
            <p:nvPr/>
          </p:nvSpPr>
          <p:spPr>
            <a:xfrm>
              <a:off x="1765466" y="518113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Google Shape;225;g370fc456c4b_0_4">
              <a:extLst>
                <a:ext uri="{FF2B5EF4-FFF2-40B4-BE49-F238E27FC236}">
                  <a16:creationId xmlns:a16="http://schemas.microsoft.com/office/drawing/2014/main" id="{E140C43C-5515-5936-09CA-E5E70F7BD47F}"/>
                </a:ext>
              </a:extLst>
            </p:cNvPr>
            <p:cNvSpPr txBox="1"/>
            <p:nvPr/>
          </p:nvSpPr>
          <p:spPr>
            <a:xfrm>
              <a:off x="1781690" y="513132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12B4ECC-298E-ED88-1E4A-59F9B3E395AA}"/>
              </a:ext>
            </a:extLst>
          </p:cNvPr>
          <p:cNvGrpSpPr/>
          <p:nvPr/>
        </p:nvGrpSpPr>
        <p:grpSpPr>
          <a:xfrm>
            <a:off x="1094525" y="4990351"/>
            <a:ext cx="3127618" cy="355118"/>
            <a:chOff x="1602433" y="5131320"/>
            <a:chExt cx="3127618" cy="355118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ED731398-A7B4-ACFC-87EB-71FEAD92319D}"/>
                </a:ext>
              </a:extLst>
            </p:cNvPr>
            <p:cNvSpPr/>
            <p:nvPr/>
          </p:nvSpPr>
          <p:spPr>
            <a:xfrm>
              <a:off x="3514476" y="5155098"/>
              <a:ext cx="1215575" cy="1383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8" name="Google Shape;230;g370fc456c4b_0_4">
              <a:extLst>
                <a:ext uri="{FF2B5EF4-FFF2-40B4-BE49-F238E27FC236}">
                  <a16:creationId xmlns:a16="http://schemas.microsoft.com/office/drawing/2014/main" id="{6D5E8582-1BBB-F3E9-0F1E-9126749A9691}"/>
                </a:ext>
              </a:extLst>
            </p:cNvPr>
            <p:cNvCxnSpPr>
              <a:cxnSpLocks/>
              <a:endCxn id="37" idx="1"/>
            </p:cNvCxnSpPr>
            <p:nvPr/>
          </p:nvCxnSpPr>
          <p:spPr>
            <a:xfrm flipV="1">
              <a:off x="2754151" y="5224255"/>
              <a:ext cx="760325" cy="10193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12480514-CF5C-6475-3725-BDA4B0D2EBA9}"/>
                </a:ext>
              </a:extLst>
            </p:cNvPr>
            <p:cNvSpPr/>
            <p:nvPr/>
          </p:nvSpPr>
          <p:spPr>
            <a:xfrm>
              <a:off x="1602433" y="518113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Google Shape;225;g370fc456c4b_0_4">
              <a:extLst>
                <a:ext uri="{FF2B5EF4-FFF2-40B4-BE49-F238E27FC236}">
                  <a16:creationId xmlns:a16="http://schemas.microsoft.com/office/drawing/2014/main" id="{F39843C7-5C6D-A725-9463-8054BE691C31}"/>
                </a:ext>
              </a:extLst>
            </p:cNvPr>
            <p:cNvSpPr txBox="1"/>
            <p:nvPr/>
          </p:nvSpPr>
          <p:spPr>
            <a:xfrm>
              <a:off x="1618657" y="513132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268BA70-523B-0D7B-13C5-53942D22BD4C}"/>
              </a:ext>
            </a:extLst>
          </p:cNvPr>
          <p:cNvGrpSpPr/>
          <p:nvPr/>
        </p:nvGrpSpPr>
        <p:grpSpPr>
          <a:xfrm>
            <a:off x="1090549" y="5535815"/>
            <a:ext cx="2247673" cy="355118"/>
            <a:chOff x="1689777" y="5071451"/>
            <a:chExt cx="2247673" cy="355118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F2747F17-E796-E962-2683-40C597CDA751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BFCC78FE-8DE9-6D7D-DF64-6483AEC84A56}"/>
                </a:ext>
              </a:extLst>
            </p:cNvPr>
            <p:cNvCxnSpPr>
              <a:cxnSpLocks/>
              <a:endCxn id="46" idx="1"/>
            </p:cNvCxnSpPr>
            <p:nvPr/>
          </p:nvCxnSpPr>
          <p:spPr>
            <a:xfrm>
              <a:off x="2790028" y="5262898"/>
              <a:ext cx="724450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C8675FF0-8F2E-5285-54FA-0B980D1A9F80}"/>
                </a:ext>
              </a:extLst>
            </p:cNvPr>
            <p:cNvSpPr/>
            <p:nvPr/>
          </p:nvSpPr>
          <p:spPr>
            <a:xfrm>
              <a:off x="1689777" y="5121267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9" name="Google Shape;225;g370fc456c4b_0_4">
              <a:extLst>
                <a:ext uri="{FF2B5EF4-FFF2-40B4-BE49-F238E27FC236}">
                  <a16:creationId xmlns:a16="http://schemas.microsoft.com/office/drawing/2014/main" id="{3066B995-5DA8-D945-597A-CF37A6BFEDD5}"/>
                </a:ext>
              </a:extLst>
            </p:cNvPr>
            <p:cNvSpPr txBox="1"/>
            <p:nvPr/>
          </p:nvSpPr>
          <p:spPr>
            <a:xfrm>
              <a:off x="1706001" y="5071451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2C0EE9C-AD9C-4AFC-41F1-DADD9115DEF4}"/>
              </a:ext>
            </a:extLst>
          </p:cNvPr>
          <p:cNvGrpSpPr/>
          <p:nvPr/>
        </p:nvGrpSpPr>
        <p:grpSpPr>
          <a:xfrm>
            <a:off x="3391231" y="5505241"/>
            <a:ext cx="1790375" cy="355118"/>
            <a:chOff x="3485621" y="5041066"/>
            <a:chExt cx="1790375" cy="355118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114ABA63-FAF4-F120-4D4A-C2FD9AE9F0D8}"/>
                </a:ext>
              </a:extLst>
            </p:cNvPr>
            <p:cNvSpPr/>
            <p:nvPr/>
          </p:nvSpPr>
          <p:spPr>
            <a:xfrm>
              <a:off x="3485621" y="5174756"/>
              <a:ext cx="49416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2EE2D7CF-122B-9761-730D-DA861BD8F5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9788" y="5250971"/>
              <a:ext cx="1921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E44C1AE-EBCC-9BA5-E98E-35A7BAC6A1AF}"/>
                </a:ext>
              </a:extLst>
            </p:cNvPr>
            <p:cNvSpPr/>
            <p:nvPr/>
          </p:nvSpPr>
          <p:spPr>
            <a:xfrm>
              <a:off x="4175745" y="509088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Google Shape;225;g370fc456c4b_0_4">
              <a:extLst>
                <a:ext uri="{FF2B5EF4-FFF2-40B4-BE49-F238E27FC236}">
                  <a16:creationId xmlns:a16="http://schemas.microsoft.com/office/drawing/2014/main" id="{25112BE7-40EF-CC88-39E9-FC0E0F1FA345}"/>
                </a:ext>
              </a:extLst>
            </p:cNvPr>
            <p:cNvSpPr txBox="1"/>
            <p:nvPr/>
          </p:nvSpPr>
          <p:spPr>
            <a:xfrm>
              <a:off x="4191969" y="504106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1987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52FD1FC-FC38-07DA-C4FD-547999F7DCB7}"/>
              </a:ext>
            </a:extLst>
          </p:cNvPr>
          <p:cNvGrpSpPr/>
          <p:nvPr/>
        </p:nvGrpSpPr>
        <p:grpSpPr>
          <a:xfrm>
            <a:off x="672890" y="3151310"/>
            <a:ext cx="8682866" cy="2608690"/>
            <a:chOff x="390930" y="5155098"/>
            <a:chExt cx="8682866" cy="2608690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3CF40D78-51E1-8C10-1E3E-C45641279F14}"/>
                </a:ext>
              </a:extLst>
            </p:cNvPr>
            <p:cNvSpPr/>
            <p:nvPr/>
          </p:nvSpPr>
          <p:spPr>
            <a:xfrm>
              <a:off x="3514476" y="5155098"/>
              <a:ext cx="5559320" cy="260869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6C4DD0E2-20FE-0706-B6A2-98C3C750A5CE}"/>
                </a:ext>
              </a:extLst>
            </p:cNvPr>
            <p:cNvCxnSpPr>
              <a:cxnSpLocks/>
              <a:endCxn id="6" idx="1"/>
            </p:cNvCxnSpPr>
            <p:nvPr/>
          </p:nvCxnSpPr>
          <p:spPr>
            <a:xfrm>
              <a:off x="1491181" y="5748852"/>
              <a:ext cx="2023295" cy="71059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FF67439C-DE74-D10D-C774-D9ED3DC8914F}"/>
                </a:ext>
              </a:extLst>
            </p:cNvPr>
            <p:cNvSpPr/>
            <p:nvPr/>
          </p:nvSpPr>
          <p:spPr>
            <a:xfrm>
              <a:off x="390930" y="5596201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Google Shape;225;g370fc456c4b_0_4">
              <a:extLst>
                <a:ext uri="{FF2B5EF4-FFF2-40B4-BE49-F238E27FC236}">
                  <a16:creationId xmlns:a16="http://schemas.microsoft.com/office/drawing/2014/main" id="{A957BD9B-3768-9E7A-585A-D7A66A61E931}"/>
                </a:ext>
              </a:extLst>
            </p:cNvPr>
            <p:cNvSpPr txBox="1"/>
            <p:nvPr/>
          </p:nvSpPr>
          <p:spPr>
            <a:xfrm>
              <a:off x="407154" y="5546385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4484536" y="1716022"/>
            <a:ext cx="3876588" cy="913517"/>
            <a:chOff x="4289643" y="4632868"/>
            <a:chExt cx="3876588" cy="913517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4289643" y="5254529"/>
              <a:ext cx="2011680" cy="2918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endCxn id="30" idx="3"/>
            </p:cNvCxnSpPr>
            <p:nvPr/>
          </p:nvCxnSpPr>
          <p:spPr>
            <a:xfrm flipH="1">
              <a:off x="6301323" y="4858573"/>
              <a:ext cx="747422" cy="54188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7065980" y="4682684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Google Shape;225;g370fc456c4b_0_4">
              <a:extLst>
                <a:ext uri="{FF2B5EF4-FFF2-40B4-BE49-F238E27FC236}">
                  <a16:creationId xmlns:a16="http://schemas.microsoft.com/office/drawing/2014/main" id="{3DAAE064-01CC-C2A7-7773-B66DC4A2EBEF}"/>
                </a:ext>
              </a:extLst>
            </p:cNvPr>
            <p:cNvSpPr txBox="1"/>
            <p:nvPr/>
          </p:nvSpPr>
          <p:spPr>
            <a:xfrm>
              <a:off x="7082204" y="4632868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877D39A-723C-3D8D-5A8A-2CD99A6FFB61}"/>
              </a:ext>
            </a:extLst>
          </p:cNvPr>
          <p:cNvGrpSpPr/>
          <p:nvPr/>
        </p:nvGrpSpPr>
        <p:grpSpPr>
          <a:xfrm>
            <a:off x="8446623" y="2694202"/>
            <a:ext cx="2951479" cy="389309"/>
            <a:chOff x="4783420" y="5177968"/>
            <a:chExt cx="2951479" cy="389309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72C9826E-25C1-101A-B95E-C4D1D8AABEDF}"/>
                </a:ext>
              </a:extLst>
            </p:cNvPr>
            <p:cNvSpPr/>
            <p:nvPr/>
          </p:nvSpPr>
          <p:spPr>
            <a:xfrm>
              <a:off x="6283555" y="5229989"/>
              <a:ext cx="1451344" cy="3372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EE18B70E-B8B3-D79A-8ED4-1F7781AC09A9}"/>
                </a:ext>
              </a:extLst>
            </p:cNvPr>
            <p:cNvCxnSpPr>
              <a:cxnSpLocks/>
              <a:endCxn id="62" idx="1"/>
            </p:cNvCxnSpPr>
            <p:nvPr/>
          </p:nvCxnSpPr>
          <p:spPr>
            <a:xfrm>
              <a:off x="5518011" y="5398633"/>
              <a:ext cx="765544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C171DA9B-34B7-8725-C271-D7055EAC43AE}"/>
                </a:ext>
              </a:extLst>
            </p:cNvPr>
            <p:cNvSpPr/>
            <p:nvPr/>
          </p:nvSpPr>
          <p:spPr>
            <a:xfrm>
              <a:off x="4783420" y="5227784"/>
              <a:ext cx="69521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Google Shape;225;g370fc456c4b_0_4">
              <a:extLst>
                <a:ext uri="{FF2B5EF4-FFF2-40B4-BE49-F238E27FC236}">
                  <a16:creationId xmlns:a16="http://schemas.microsoft.com/office/drawing/2014/main" id="{AE7717E3-2547-A490-C707-46A23975180F}"/>
                </a:ext>
              </a:extLst>
            </p:cNvPr>
            <p:cNvSpPr txBox="1"/>
            <p:nvPr/>
          </p:nvSpPr>
          <p:spPr>
            <a:xfrm>
              <a:off x="4799644" y="5177968"/>
              <a:ext cx="678993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noProof="1"/>
              <a:t>bbv Software Services AG  |  21/07/2025</a:t>
            </a:r>
          </a:p>
        </p:txBody>
      </p:sp>
      <p:sp>
        <p:nvSpPr>
          <p:cNvPr id="201" name="Google Shape;201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noProof="1"/>
              <a:t>FUNCTIONS IN THE TRELLO SYSTEM</a:t>
            </a:r>
          </a:p>
        </p:txBody>
      </p:sp>
      <p:sp>
        <p:nvSpPr>
          <p:cNvPr id="202" name="Google Shape;202;p2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</a:pPr>
            <a:endParaRPr lang="en-US" noProof="1"/>
          </a:p>
        </p:txBody>
      </p:sp>
      <p:grpSp>
        <p:nvGrpSpPr>
          <p:cNvPr id="203" name="Google Shape;203;p2"/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204" name="Google Shape;204;p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5" name="Google Shape;205;p2"/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206" name="Google Shape;206;p2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07" name="Google Shape;207;p2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767AFE-8F07-8D89-A000-C14FF9A5FAF9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 noProof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C55979-2A8E-F154-0AEC-D418BE761B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007885"/>
            <a:ext cx="12192000" cy="3120887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 and UI in the Trello System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a simple table or database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305154" y="1826883"/>
            <a:ext cx="4877419" cy="3204232"/>
          </a:xfrm>
        </p:spPr>
        <p:txBody>
          <a:bodyPr wrap="square" anchor="t">
            <a:normAutofit/>
          </a:bodyPr>
          <a:lstStyle/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Create board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dd cards to represent 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265" y="1271551"/>
            <a:ext cx="7004039" cy="431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7CE13F6-9C0A-1C92-35AD-B37EA380E7DE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IN TRELLO SYSTEM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6C0D8BF-5625-2F6F-24CC-F8475F6FDE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23192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97E15DCA-0CA2-9E15-0370-09389E90FE75}"/>
              </a:ext>
            </a:extLst>
          </p:cNvPr>
          <p:cNvGrpSpPr/>
          <p:nvPr/>
        </p:nvGrpSpPr>
        <p:grpSpPr>
          <a:xfrm>
            <a:off x="2813611" y="2085727"/>
            <a:ext cx="2716123" cy="885991"/>
            <a:chOff x="4448434" y="2079846"/>
            <a:chExt cx="2716123" cy="885991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6F82F4D1-5D21-5A69-29D7-0E253ED16537}"/>
                </a:ext>
              </a:extLst>
            </p:cNvPr>
            <p:cNvSpPr/>
            <p:nvPr/>
          </p:nvSpPr>
          <p:spPr>
            <a:xfrm>
              <a:off x="5536317" y="2079846"/>
              <a:ext cx="1628240" cy="88599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11DF7370-F5AF-E01F-56CD-5D206F152197}"/>
                </a:ext>
              </a:extLst>
            </p:cNvPr>
            <p:cNvCxnSpPr>
              <a:cxnSpLocks/>
              <a:endCxn id="16" idx="1"/>
            </p:cNvCxnSpPr>
            <p:nvPr/>
          </p:nvCxnSpPr>
          <p:spPr>
            <a:xfrm>
              <a:off x="5138251" y="2522842"/>
              <a:ext cx="3980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3F79E29-1DAF-7A97-CF15-92A4FE7CF064}"/>
                </a:ext>
              </a:extLst>
            </p:cNvPr>
            <p:cNvSpPr/>
            <p:nvPr/>
          </p:nvSpPr>
          <p:spPr>
            <a:xfrm>
              <a:off x="4448434" y="2379105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1494" y="1579880"/>
            <a:ext cx="3298924" cy="449784"/>
            <a:chOff x="3929937" y="1579541"/>
            <a:chExt cx="3298924" cy="44978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29937" y="1737725"/>
              <a:ext cx="1233669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2" y="1579541"/>
              <a:ext cx="170876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  <a:endParaRPr lang="en-US" dirty="0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89131-88DF-FD29-BF67-AB410ED6A2E9}"/>
              </a:ext>
            </a:extLst>
          </p:cNvPr>
          <p:cNvGrpSpPr/>
          <p:nvPr/>
        </p:nvGrpSpPr>
        <p:grpSpPr>
          <a:xfrm>
            <a:off x="6252641" y="3994468"/>
            <a:ext cx="1143000" cy="917450"/>
            <a:chOff x="6167482" y="3994468"/>
            <a:chExt cx="1143000" cy="917450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18AE19AC-DF93-9C6C-6403-D605815EE76C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02D7C03D-C185-D25C-04FD-D368EFD7D87E}"/>
                </a:ext>
              </a:extLst>
            </p:cNvPr>
            <p:cNvCxnSpPr>
              <a:cxnSpLocks/>
              <a:endCxn id="29" idx="2"/>
            </p:cNvCxnSpPr>
            <p:nvPr/>
          </p:nvCxnSpPr>
          <p:spPr>
            <a:xfrm flipV="1">
              <a:off x="6738982" y="4175360"/>
              <a:ext cx="1" cy="43345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6324680-2009-F7E3-879A-C925DDE3115C}"/>
                </a:ext>
              </a:extLst>
            </p:cNvPr>
            <p:cNvSpPr/>
            <p:nvPr/>
          </p:nvSpPr>
          <p:spPr>
            <a:xfrm>
              <a:off x="6167482" y="4624446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91A6AB-B388-15A5-154B-894FA8C84E9E}"/>
              </a:ext>
            </a:extLst>
          </p:cNvPr>
          <p:cNvGrpSpPr/>
          <p:nvPr/>
        </p:nvGrpSpPr>
        <p:grpSpPr>
          <a:xfrm>
            <a:off x="5629336" y="2689578"/>
            <a:ext cx="2408878" cy="287472"/>
            <a:chOff x="6480817" y="3947743"/>
            <a:chExt cx="2408878" cy="287472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90CD6F8F-91C7-5E65-458A-E990A0C56793}"/>
                </a:ext>
              </a:extLst>
            </p:cNvPr>
            <p:cNvSpPr/>
            <p:nvPr/>
          </p:nvSpPr>
          <p:spPr>
            <a:xfrm>
              <a:off x="6480817" y="3994468"/>
              <a:ext cx="2652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919AD1CC-4D78-EE6B-533B-37ADA23ED8BC}"/>
                </a:ext>
              </a:extLst>
            </p:cNvPr>
            <p:cNvCxnSpPr>
              <a:cxnSpLocks/>
              <a:endCxn id="56" idx="3"/>
            </p:cNvCxnSpPr>
            <p:nvPr/>
          </p:nvCxnSpPr>
          <p:spPr>
            <a:xfrm flipH="1">
              <a:off x="6746048" y="4084914"/>
              <a:ext cx="141530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CFC41F2-CBA7-6B41-EAF1-C2929612F753}"/>
                </a:ext>
              </a:extLst>
            </p:cNvPr>
            <p:cNvSpPr/>
            <p:nvPr/>
          </p:nvSpPr>
          <p:spPr>
            <a:xfrm>
              <a:off x="8180264" y="3947743"/>
              <a:ext cx="7094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A199B9-0CB3-50C5-8BEE-8B16F5AE835E}"/>
              </a:ext>
            </a:extLst>
          </p:cNvPr>
          <p:cNvGrpSpPr/>
          <p:nvPr/>
        </p:nvGrpSpPr>
        <p:grpSpPr>
          <a:xfrm>
            <a:off x="5619702" y="2087358"/>
            <a:ext cx="2471675" cy="602217"/>
            <a:chOff x="6480817" y="3994467"/>
            <a:chExt cx="2471675" cy="602217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743FEE87-9D9F-6C86-362D-C24AC3EDA6E0}"/>
                </a:ext>
              </a:extLst>
            </p:cNvPr>
            <p:cNvSpPr/>
            <p:nvPr/>
          </p:nvSpPr>
          <p:spPr>
            <a:xfrm>
              <a:off x="6480817" y="3994467"/>
              <a:ext cx="1530949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7845ADD7-A7AF-1D48-A56D-38A883A23ACE}"/>
                </a:ext>
              </a:extLst>
            </p:cNvPr>
            <p:cNvCxnSpPr>
              <a:cxnSpLocks/>
              <a:stCxn id="65" idx="1"/>
              <a:endCxn id="63" idx="3"/>
            </p:cNvCxnSpPr>
            <p:nvPr/>
          </p:nvCxnSpPr>
          <p:spPr>
            <a:xfrm flipH="1">
              <a:off x="8011766" y="4280777"/>
              <a:ext cx="190326" cy="1479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42C1EA2-3B0B-90D4-D6B6-3E824A0A1D52}"/>
                </a:ext>
              </a:extLst>
            </p:cNvPr>
            <p:cNvSpPr/>
            <p:nvPr/>
          </p:nvSpPr>
          <p:spPr>
            <a:xfrm>
              <a:off x="8202092" y="4137041"/>
              <a:ext cx="750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mag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9A7CD06-CC47-0EC7-42A2-368E8B6B37B7}"/>
              </a:ext>
            </a:extLst>
          </p:cNvPr>
          <p:cNvGrpSpPr/>
          <p:nvPr/>
        </p:nvGrpSpPr>
        <p:grpSpPr>
          <a:xfrm>
            <a:off x="7972383" y="4720917"/>
            <a:ext cx="1915959" cy="822569"/>
            <a:chOff x="3929938" y="1206756"/>
            <a:chExt cx="1915959" cy="822569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2DAFB084-37AE-637F-3587-CC29FFFE2C00}"/>
                </a:ext>
              </a:extLst>
            </p:cNvPr>
            <p:cNvSpPr/>
            <p:nvPr/>
          </p:nvSpPr>
          <p:spPr>
            <a:xfrm>
              <a:off x="3929938" y="1737725"/>
              <a:ext cx="873444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24C84D1E-7389-DA83-B59E-9A25E048F415}"/>
                </a:ext>
              </a:extLst>
            </p:cNvPr>
            <p:cNvCxnSpPr>
              <a:cxnSpLocks/>
              <a:endCxn id="72" idx="3"/>
            </p:cNvCxnSpPr>
            <p:nvPr/>
          </p:nvCxnSpPr>
          <p:spPr>
            <a:xfrm flipH="1">
              <a:off x="4803382" y="1536304"/>
              <a:ext cx="542722" cy="34722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25A1159B-BC54-700F-EB89-4BFE533C2045}"/>
                </a:ext>
              </a:extLst>
            </p:cNvPr>
            <p:cNvSpPr/>
            <p:nvPr/>
          </p:nvSpPr>
          <p:spPr>
            <a:xfrm>
              <a:off x="4932590" y="1206756"/>
              <a:ext cx="91330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36F706F-1350-7971-E7ED-2F0E03BD330D}"/>
              </a:ext>
            </a:extLst>
          </p:cNvPr>
          <p:cNvGrpSpPr/>
          <p:nvPr/>
        </p:nvGrpSpPr>
        <p:grpSpPr>
          <a:xfrm>
            <a:off x="11460287" y="1160890"/>
            <a:ext cx="731713" cy="850198"/>
            <a:chOff x="6506511" y="1227259"/>
            <a:chExt cx="731713" cy="850198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18BE1376-FC59-16CC-5BA4-9D975E6D279F}"/>
                </a:ext>
              </a:extLst>
            </p:cNvPr>
            <p:cNvSpPr/>
            <p:nvPr/>
          </p:nvSpPr>
          <p:spPr>
            <a:xfrm>
              <a:off x="7043416" y="1227259"/>
              <a:ext cx="194808" cy="17492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A1637EA2-F1C8-1FAC-0082-25BEC74E9646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6831114" y="1402188"/>
              <a:ext cx="309706" cy="38779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1B79FB6-013B-EFF6-8F05-0FA64A8771CF}"/>
                </a:ext>
              </a:extLst>
            </p:cNvPr>
            <p:cNvSpPr/>
            <p:nvPr/>
          </p:nvSpPr>
          <p:spPr>
            <a:xfrm>
              <a:off x="6506511" y="1789985"/>
              <a:ext cx="5994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0AF6782-4948-07FD-2706-4B509626794B}"/>
              </a:ext>
            </a:extLst>
          </p:cNvPr>
          <p:cNvGrpSpPr/>
          <p:nvPr/>
        </p:nvGrpSpPr>
        <p:grpSpPr>
          <a:xfrm>
            <a:off x="143656" y="2826748"/>
            <a:ext cx="2166199" cy="507759"/>
            <a:chOff x="3999404" y="2158819"/>
            <a:chExt cx="2166199" cy="507759"/>
          </a:xfrm>
        </p:grpSpPr>
        <p:sp>
          <p:nvSpPr>
            <p:cNvPr id="99" name="Google Shape;229;g370fc456c4b_0_4">
              <a:extLst>
                <a:ext uri="{FF2B5EF4-FFF2-40B4-BE49-F238E27FC236}">
                  <a16:creationId xmlns:a16="http://schemas.microsoft.com/office/drawing/2014/main" id="{51C62539-7A12-0EC0-C8CE-DF38319DE4DF}"/>
                </a:ext>
              </a:extLst>
            </p:cNvPr>
            <p:cNvSpPr/>
            <p:nvPr/>
          </p:nvSpPr>
          <p:spPr>
            <a:xfrm>
              <a:off x="5536317" y="2158819"/>
              <a:ext cx="629286" cy="20849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0" name="Google Shape;230;g370fc456c4b_0_4">
              <a:extLst>
                <a:ext uri="{FF2B5EF4-FFF2-40B4-BE49-F238E27FC236}">
                  <a16:creationId xmlns:a16="http://schemas.microsoft.com/office/drawing/2014/main" id="{783034B2-39AD-672C-1250-5AAB5C902A85}"/>
                </a:ext>
              </a:extLst>
            </p:cNvPr>
            <p:cNvCxnSpPr>
              <a:cxnSpLocks/>
              <a:endCxn id="99" idx="1"/>
            </p:cNvCxnSpPr>
            <p:nvPr/>
          </p:nvCxnSpPr>
          <p:spPr>
            <a:xfrm flipV="1">
              <a:off x="5138251" y="2263069"/>
              <a:ext cx="398066" cy="2597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227257C0-A0A9-1FDE-7EB6-3D559F851F50}"/>
                </a:ext>
              </a:extLst>
            </p:cNvPr>
            <p:cNvSpPr/>
            <p:nvPr/>
          </p:nvSpPr>
          <p:spPr>
            <a:xfrm>
              <a:off x="3999404" y="2379106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24A8A5-39A8-B571-5685-579D12237CB2}"/>
              </a:ext>
            </a:extLst>
          </p:cNvPr>
          <p:cNvGrpSpPr/>
          <p:nvPr/>
        </p:nvGrpSpPr>
        <p:grpSpPr>
          <a:xfrm>
            <a:off x="699715" y="3426483"/>
            <a:ext cx="1216549" cy="384483"/>
            <a:chOff x="5499963" y="3994468"/>
            <a:chExt cx="1216549" cy="384483"/>
          </a:xfrm>
        </p:grpSpPr>
        <p:sp>
          <p:nvSpPr>
            <p:cNvPr id="107" name="Google Shape;229;g370fc456c4b_0_4">
              <a:extLst>
                <a:ext uri="{FF2B5EF4-FFF2-40B4-BE49-F238E27FC236}">
                  <a16:creationId xmlns:a16="http://schemas.microsoft.com/office/drawing/2014/main" id="{F8338C42-C7F4-3DB5-BC74-9565DF8B183C}"/>
                </a:ext>
              </a:extLst>
            </p:cNvPr>
            <p:cNvSpPr/>
            <p:nvPr/>
          </p:nvSpPr>
          <p:spPr>
            <a:xfrm>
              <a:off x="6480817" y="3994468"/>
              <a:ext cx="235695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8" name="Google Shape;230;g370fc456c4b_0_4">
              <a:extLst>
                <a:ext uri="{FF2B5EF4-FFF2-40B4-BE49-F238E27FC236}">
                  <a16:creationId xmlns:a16="http://schemas.microsoft.com/office/drawing/2014/main" id="{8CDE9442-D2B7-5ED6-4D48-E505944CA080}"/>
                </a:ext>
              </a:extLst>
            </p:cNvPr>
            <p:cNvCxnSpPr>
              <a:cxnSpLocks/>
              <a:endCxn id="107" idx="1"/>
            </p:cNvCxnSpPr>
            <p:nvPr/>
          </p:nvCxnSpPr>
          <p:spPr>
            <a:xfrm flipV="1">
              <a:off x="6163897" y="4084914"/>
              <a:ext cx="316920" cy="15030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32FB443-A3B7-1C05-67A1-F2D1B8CCF964}"/>
                </a:ext>
              </a:extLst>
            </p:cNvPr>
            <p:cNvSpPr/>
            <p:nvPr/>
          </p:nvSpPr>
          <p:spPr>
            <a:xfrm>
              <a:off x="5499963" y="4091479"/>
              <a:ext cx="6567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990B4F6-5B9D-07EB-052D-5FAC78714AE6}"/>
              </a:ext>
            </a:extLst>
          </p:cNvPr>
          <p:cNvGrpSpPr/>
          <p:nvPr/>
        </p:nvGrpSpPr>
        <p:grpSpPr>
          <a:xfrm>
            <a:off x="675199" y="3427410"/>
            <a:ext cx="2171368" cy="843626"/>
            <a:chOff x="5199802" y="3994468"/>
            <a:chExt cx="2171368" cy="843626"/>
          </a:xfrm>
        </p:grpSpPr>
        <p:sp>
          <p:nvSpPr>
            <p:cNvPr id="115" name="Google Shape;229;g370fc456c4b_0_4">
              <a:extLst>
                <a:ext uri="{FF2B5EF4-FFF2-40B4-BE49-F238E27FC236}">
                  <a16:creationId xmlns:a16="http://schemas.microsoft.com/office/drawing/2014/main" id="{2EB979C8-4EC6-38F7-211A-B788E3ADB95E}"/>
                </a:ext>
              </a:extLst>
            </p:cNvPr>
            <p:cNvSpPr/>
            <p:nvPr/>
          </p:nvSpPr>
          <p:spPr>
            <a:xfrm>
              <a:off x="6480817" y="3994468"/>
              <a:ext cx="890353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6" name="Google Shape;230;g370fc456c4b_0_4">
              <a:extLst>
                <a:ext uri="{FF2B5EF4-FFF2-40B4-BE49-F238E27FC236}">
                  <a16:creationId xmlns:a16="http://schemas.microsoft.com/office/drawing/2014/main" id="{ECCDED2F-FE22-C493-C62F-B7A782C9D9CE}"/>
                </a:ext>
              </a:extLst>
            </p:cNvPr>
            <p:cNvCxnSpPr>
              <a:cxnSpLocks/>
              <a:stCxn id="117" idx="3"/>
              <a:endCxn id="115" idx="2"/>
            </p:cNvCxnSpPr>
            <p:nvPr/>
          </p:nvCxnSpPr>
          <p:spPr>
            <a:xfrm flipV="1">
              <a:off x="5905631" y="4175360"/>
              <a:ext cx="1020363" cy="51899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4175C07B-1B2A-D81A-1936-14157C8E3A56}"/>
                </a:ext>
              </a:extLst>
            </p:cNvPr>
            <p:cNvSpPr/>
            <p:nvPr/>
          </p:nvSpPr>
          <p:spPr>
            <a:xfrm>
              <a:off x="5199802" y="4550622"/>
              <a:ext cx="705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B7BAF18-1F4B-C838-8C84-61EED0482B12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4AF4DA-433C-EB2A-2BE1-1FF9FE9E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585875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291549" y="2763671"/>
            <a:ext cx="1953534" cy="337288"/>
            <a:chOff x="4131428" y="1700415"/>
            <a:chExt cx="1953534" cy="337288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4131428" y="1831019"/>
              <a:ext cx="561892" cy="1537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endCxn id="6" idx="3"/>
            </p:cNvCxnSpPr>
            <p:nvPr/>
          </p:nvCxnSpPr>
          <p:spPr>
            <a:xfrm flipH="1">
              <a:off x="4693320" y="1907882"/>
              <a:ext cx="2736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984869" y="1750231"/>
              <a:ext cx="110009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Google Shape;225;g370fc456c4b_0_4">
              <a:extLst>
                <a:ext uri="{FF2B5EF4-FFF2-40B4-BE49-F238E27FC236}">
                  <a16:creationId xmlns:a16="http://schemas.microsoft.com/office/drawing/2014/main" id="{AE191378-EB32-26A0-2EF0-A293E4B36228}"/>
                </a:ext>
              </a:extLst>
            </p:cNvPr>
            <p:cNvSpPr txBox="1"/>
            <p:nvPr/>
          </p:nvSpPr>
          <p:spPr>
            <a:xfrm>
              <a:off x="5001094" y="1700415"/>
              <a:ext cx="108386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067651" y="2139484"/>
            <a:ext cx="1155547" cy="653989"/>
            <a:chOff x="3766475" y="2093833"/>
            <a:chExt cx="1155547" cy="653989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4344250" y="2220471"/>
              <a:ext cx="0" cy="2356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3766475" y="2460350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  <a:endParaRPr lang="en-US" dirty="0"/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254909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B1FBF-EBFD-B477-0F50-C5F010680192}"/>
              </a:ext>
            </a:extLst>
          </p:cNvPr>
          <p:cNvGrpSpPr/>
          <p:nvPr/>
        </p:nvGrpSpPr>
        <p:grpSpPr>
          <a:xfrm>
            <a:off x="4432603" y="1373309"/>
            <a:ext cx="1363989" cy="723239"/>
            <a:chOff x="6500854" y="3831070"/>
            <a:chExt cx="1363989" cy="723239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440CAE-2B1A-F490-442F-F46705850AC2}"/>
                </a:ext>
              </a:extLst>
            </p:cNvPr>
            <p:cNvSpPr/>
            <p:nvPr/>
          </p:nvSpPr>
          <p:spPr>
            <a:xfrm>
              <a:off x="6500854" y="4355580"/>
              <a:ext cx="1363989" cy="1987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2A2BE838-79F0-22B0-7AF2-4961C7942FEC}"/>
                </a:ext>
              </a:extLst>
            </p:cNvPr>
            <p:cNvCxnSpPr>
              <a:cxnSpLocks/>
            </p:cNvCxnSpPr>
            <p:nvPr/>
          </p:nvCxnSpPr>
          <p:spPr>
            <a:xfrm>
              <a:off x="7182848" y="4115903"/>
              <a:ext cx="0" cy="23848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7EA6A7-7EFF-9AC8-0C4B-CB1C39B3195C}"/>
                </a:ext>
              </a:extLst>
            </p:cNvPr>
            <p:cNvSpPr/>
            <p:nvPr/>
          </p:nvSpPr>
          <p:spPr>
            <a:xfrm>
              <a:off x="6791838" y="3831070"/>
              <a:ext cx="750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3B99A4-DCB9-41DA-0AD4-281AD993BDF8}"/>
              </a:ext>
            </a:extLst>
          </p:cNvPr>
          <p:cNvGrpSpPr/>
          <p:nvPr/>
        </p:nvGrpSpPr>
        <p:grpSpPr>
          <a:xfrm>
            <a:off x="2849913" y="1851113"/>
            <a:ext cx="1529262" cy="501202"/>
            <a:chOff x="5481381" y="4355580"/>
            <a:chExt cx="1529262" cy="50120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CDA591E2-315A-046E-415C-5DB456625FDB}"/>
                </a:ext>
              </a:extLst>
            </p:cNvPr>
            <p:cNvSpPr/>
            <p:nvPr/>
          </p:nvSpPr>
          <p:spPr>
            <a:xfrm>
              <a:off x="6500855" y="4355580"/>
              <a:ext cx="509788" cy="5012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AC1E67F4-9738-0384-3A20-D8CD1ADA30A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6231518" y="4601015"/>
              <a:ext cx="269337" cy="516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6F1695D-B3EB-C19E-A8AA-C1557C485ADF}"/>
                </a:ext>
              </a:extLst>
            </p:cNvPr>
            <p:cNvSpPr/>
            <p:nvPr/>
          </p:nvSpPr>
          <p:spPr>
            <a:xfrm>
              <a:off x="5481381" y="4470024"/>
              <a:ext cx="750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514A98A-F397-0330-8322-C358D53A820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DF31B5-0165-7D3D-3AC8-F01F919D3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B736E0-8726-DA0D-5247-D487F74E0B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5977246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467C4B41-E8D1-142B-83DF-7C6F03EA2F39}"/>
              </a:ext>
            </a:extLst>
          </p:cNvPr>
          <p:cNvGrpSpPr/>
          <p:nvPr/>
        </p:nvGrpSpPr>
        <p:grpSpPr>
          <a:xfrm>
            <a:off x="127555" y="2384966"/>
            <a:ext cx="2834867" cy="2468687"/>
            <a:chOff x="4131428" y="2093833"/>
            <a:chExt cx="2834867" cy="2468687"/>
          </a:xfrm>
        </p:grpSpPr>
        <p:sp>
          <p:nvSpPr>
            <p:cNvPr id="66" name="Google Shape;229;g370fc456c4b_0_4">
              <a:extLst>
                <a:ext uri="{FF2B5EF4-FFF2-40B4-BE49-F238E27FC236}">
                  <a16:creationId xmlns:a16="http://schemas.microsoft.com/office/drawing/2014/main" id="{BE1EE737-6D7A-6CE1-E4AE-22E78F56D7D7}"/>
                </a:ext>
              </a:extLst>
            </p:cNvPr>
            <p:cNvSpPr/>
            <p:nvPr/>
          </p:nvSpPr>
          <p:spPr>
            <a:xfrm>
              <a:off x="4131428" y="2093833"/>
              <a:ext cx="2021821" cy="10429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7" name="Google Shape;230;g370fc456c4b_0_4">
              <a:extLst>
                <a:ext uri="{FF2B5EF4-FFF2-40B4-BE49-F238E27FC236}">
                  <a16:creationId xmlns:a16="http://schemas.microsoft.com/office/drawing/2014/main" id="{9B5E49CB-9D75-9292-0F25-6ACD4214B135}"/>
                </a:ext>
              </a:extLst>
            </p:cNvPr>
            <p:cNvCxnSpPr>
              <a:cxnSpLocks/>
              <a:endCxn id="66" idx="2"/>
            </p:cNvCxnSpPr>
            <p:nvPr/>
          </p:nvCxnSpPr>
          <p:spPr>
            <a:xfrm flipH="1" flipV="1">
              <a:off x="5142339" y="3136812"/>
              <a:ext cx="1508665" cy="108752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28CC1BC9-ADD4-72EA-BE02-B6D4689BA7B8}"/>
                </a:ext>
              </a:extLst>
            </p:cNvPr>
            <p:cNvSpPr/>
            <p:nvPr/>
          </p:nvSpPr>
          <p:spPr>
            <a:xfrm>
              <a:off x="6352661" y="4275048"/>
              <a:ext cx="61363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E898ECC-3152-AB98-7730-79FC8CE18136}"/>
              </a:ext>
            </a:extLst>
          </p:cNvPr>
          <p:cNvGrpSpPr/>
          <p:nvPr/>
        </p:nvGrpSpPr>
        <p:grpSpPr>
          <a:xfrm>
            <a:off x="179892" y="2718663"/>
            <a:ext cx="1422079" cy="216320"/>
            <a:chOff x="6500855" y="4338279"/>
            <a:chExt cx="1422079" cy="216320"/>
          </a:xfrm>
        </p:grpSpPr>
        <p:sp>
          <p:nvSpPr>
            <p:cNvPr id="70" name="Google Shape;229;g370fc456c4b_0_4">
              <a:extLst>
                <a:ext uri="{FF2B5EF4-FFF2-40B4-BE49-F238E27FC236}">
                  <a16:creationId xmlns:a16="http://schemas.microsoft.com/office/drawing/2014/main" id="{0A4BDAC3-9933-460F-2522-0407519755E3}"/>
                </a:ext>
              </a:extLst>
            </p:cNvPr>
            <p:cNvSpPr/>
            <p:nvPr/>
          </p:nvSpPr>
          <p:spPr>
            <a:xfrm>
              <a:off x="6500855" y="4355581"/>
              <a:ext cx="449908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1" name="Google Shape;230;g370fc456c4b_0_4">
              <a:extLst>
                <a:ext uri="{FF2B5EF4-FFF2-40B4-BE49-F238E27FC236}">
                  <a16:creationId xmlns:a16="http://schemas.microsoft.com/office/drawing/2014/main" id="{03F5F2C0-2E63-80E5-6FA3-6AC3A612B2FB}"/>
                </a:ext>
              </a:extLst>
            </p:cNvPr>
            <p:cNvCxnSpPr>
              <a:cxnSpLocks/>
              <a:endCxn id="70" idx="3"/>
            </p:cNvCxnSpPr>
            <p:nvPr/>
          </p:nvCxnSpPr>
          <p:spPr>
            <a:xfrm flipH="1">
              <a:off x="6950763" y="4446439"/>
              <a:ext cx="20673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89441518-AF8A-68D6-DCF9-D76B4D9885DC}"/>
                </a:ext>
              </a:extLst>
            </p:cNvPr>
            <p:cNvSpPr/>
            <p:nvPr/>
          </p:nvSpPr>
          <p:spPr>
            <a:xfrm>
              <a:off x="7156451" y="4338279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6B314F9-317A-6B79-6C29-F4FD5CF994D9}"/>
              </a:ext>
            </a:extLst>
          </p:cNvPr>
          <p:cNvGrpSpPr/>
          <p:nvPr/>
        </p:nvGrpSpPr>
        <p:grpSpPr>
          <a:xfrm>
            <a:off x="127555" y="1188563"/>
            <a:ext cx="1639974" cy="580772"/>
            <a:chOff x="6500855" y="3920591"/>
            <a:chExt cx="1639974" cy="580772"/>
          </a:xfrm>
        </p:grpSpPr>
        <p:sp>
          <p:nvSpPr>
            <p:cNvPr id="74" name="Google Shape;229;g370fc456c4b_0_4">
              <a:extLst>
                <a:ext uri="{FF2B5EF4-FFF2-40B4-BE49-F238E27FC236}">
                  <a16:creationId xmlns:a16="http://schemas.microsoft.com/office/drawing/2014/main" id="{B91927B4-B4F1-845B-D897-2D7B66A03A81}"/>
                </a:ext>
              </a:extLst>
            </p:cNvPr>
            <p:cNvSpPr/>
            <p:nvPr/>
          </p:nvSpPr>
          <p:spPr>
            <a:xfrm>
              <a:off x="6500855" y="4319647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5" name="Google Shape;230;g370fc456c4b_0_4">
              <a:extLst>
                <a:ext uri="{FF2B5EF4-FFF2-40B4-BE49-F238E27FC236}">
                  <a16:creationId xmlns:a16="http://schemas.microsoft.com/office/drawing/2014/main" id="{574C6EDA-FB82-8E66-B4F8-29AD0FF8E817}"/>
                </a:ext>
              </a:extLst>
            </p:cNvPr>
            <p:cNvCxnSpPr>
              <a:cxnSpLocks/>
              <a:stCxn id="76" idx="2"/>
              <a:endCxn id="74" idx="3"/>
            </p:cNvCxnSpPr>
            <p:nvPr/>
          </p:nvCxnSpPr>
          <p:spPr>
            <a:xfrm flipH="1">
              <a:off x="7233520" y="4136911"/>
              <a:ext cx="504160" cy="2735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89F129ED-6836-7AFD-EB99-3B4A848B10C5}"/>
                </a:ext>
              </a:extLst>
            </p:cNvPr>
            <p:cNvSpPr/>
            <p:nvPr/>
          </p:nvSpPr>
          <p:spPr>
            <a:xfrm>
              <a:off x="7334530" y="3920591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7618630-76D4-9746-EB82-4126E8801240}"/>
              </a:ext>
            </a:extLst>
          </p:cNvPr>
          <p:cNvGrpSpPr/>
          <p:nvPr/>
        </p:nvGrpSpPr>
        <p:grpSpPr>
          <a:xfrm>
            <a:off x="179892" y="2083476"/>
            <a:ext cx="1854229" cy="216320"/>
            <a:chOff x="6500854" y="4348810"/>
            <a:chExt cx="1854229" cy="216320"/>
          </a:xfrm>
        </p:grpSpPr>
        <p:sp>
          <p:nvSpPr>
            <p:cNvPr id="78" name="Google Shape;229;g370fc456c4b_0_4">
              <a:extLst>
                <a:ext uri="{FF2B5EF4-FFF2-40B4-BE49-F238E27FC236}">
                  <a16:creationId xmlns:a16="http://schemas.microsoft.com/office/drawing/2014/main" id="{D29BCBAE-E681-C5A4-5B81-E6AC40C5C277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9" name="Google Shape;230;g370fc456c4b_0_4">
              <a:extLst>
                <a:ext uri="{FF2B5EF4-FFF2-40B4-BE49-F238E27FC236}">
                  <a16:creationId xmlns:a16="http://schemas.microsoft.com/office/drawing/2014/main" id="{1E184EA2-BD73-2770-BBE9-CBE58D446BCD}"/>
                </a:ext>
              </a:extLst>
            </p:cNvPr>
            <p:cNvCxnSpPr>
              <a:cxnSpLocks/>
              <a:stCxn id="80" idx="1"/>
              <a:endCxn id="78" idx="3"/>
            </p:cNvCxnSpPr>
            <p:nvPr/>
          </p:nvCxnSpPr>
          <p:spPr>
            <a:xfrm flipH="1" flipV="1">
              <a:off x="7233519" y="4446439"/>
              <a:ext cx="315265" cy="105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0E785CE-A030-877D-9116-AFD01ED256E6}"/>
                </a:ext>
              </a:extLst>
            </p:cNvPr>
            <p:cNvSpPr/>
            <p:nvPr/>
          </p:nvSpPr>
          <p:spPr>
            <a:xfrm>
              <a:off x="7548784" y="4348810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F2B6420-5A42-C5C1-AFE2-0B30FBEF6F89}"/>
              </a:ext>
            </a:extLst>
          </p:cNvPr>
          <p:cNvGrpSpPr/>
          <p:nvPr/>
        </p:nvGrpSpPr>
        <p:grpSpPr>
          <a:xfrm>
            <a:off x="37214" y="1575095"/>
            <a:ext cx="2952206" cy="3454182"/>
            <a:chOff x="3907161" y="1162883"/>
            <a:chExt cx="2952206" cy="3454182"/>
          </a:xfrm>
        </p:grpSpPr>
        <p:sp>
          <p:nvSpPr>
            <p:cNvPr id="82" name="Google Shape;229;g370fc456c4b_0_4">
              <a:extLst>
                <a:ext uri="{FF2B5EF4-FFF2-40B4-BE49-F238E27FC236}">
                  <a16:creationId xmlns:a16="http://schemas.microsoft.com/office/drawing/2014/main" id="{6D022503-FDD2-56CD-2496-81C2EC215BF4}"/>
                </a:ext>
              </a:extLst>
            </p:cNvPr>
            <p:cNvSpPr/>
            <p:nvPr/>
          </p:nvSpPr>
          <p:spPr>
            <a:xfrm>
              <a:off x="3907161" y="1578057"/>
              <a:ext cx="2142460" cy="303900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3" name="Google Shape;230;g370fc456c4b_0_4">
              <a:extLst>
                <a:ext uri="{FF2B5EF4-FFF2-40B4-BE49-F238E27FC236}">
                  <a16:creationId xmlns:a16="http://schemas.microsoft.com/office/drawing/2014/main" id="{E4E8EEC9-3929-6127-19B7-E555E6C6292D}"/>
                </a:ext>
              </a:extLst>
            </p:cNvPr>
            <p:cNvCxnSpPr>
              <a:cxnSpLocks/>
              <a:stCxn id="84" idx="1"/>
              <a:endCxn id="82" idx="0"/>
            </p:cNvCxnSpPr>
            <p:nvPr/>
          </p:nvCxnSpPr>
          <p:spPr>
            <a:xfrm flipH="1">
              <a:off x="4978391" y="1306619"/>
              <a:ext cx="1213395" cy="27143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690CEDD2-E08A-676D-B574-74F8854454EF}"/>
                </a:ext>
              </a:extLst>
            </p:cNvPr>
            <p:cNvSpPr/>
            <p:nvPr/>
          </p:nvSpPr>
          <p:spPr>
            <a:xfrm>
              <a:off x="6191786" y="1162883"/>
              <a:ext cx="6675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9C11012-F91F-1B8E-89D9-7B523304E8ED}"/>
              </a:ext>
            </a:extLst>
          </p:cNvPr>
          <p:cNvGrpSpPr/>
          <p:nvPr/>
        </p:nvGrpSpPr>
        <p:grpSpPr>
          <a:xfrm>
            <a:off x="204624" y="2021590"/>
            <a:ext cx="3538626" cy="661138"/>
            <a:chOff x="4056098" y="1615981"/>
            <a:chExt cx="3538626" cy="661138"/>
          </a:xfrm>
        </p:grpSpPr>
        <p:sp>
          <p:nvSpPr>
            <p:cNvPr id="86" name="Google Shape;229;g370fc456c4b_0_4">
              <a:extLst>
                <a:ext uri="{FF2B5EF4-FFF2-40B4-BE49-F238E27FC236}">
                  <a16:creationId xmlns:a16="http://schemas.microsoft.com/office/drawing/2014/main" id="{A79E5442-7A8C-6C67-2AE9-868EB088D8B8}"/>
                </a:ext>
              </a:extLst>
            </p:cNvPr>
            <p:cNvSpPr/>
            <p:nvPr/>
          </p:nvSpPr>
          <p:spPr>
            <a:xfrm>
              <a:off x="4056098" y="2003250"/>
              <a:ext cx="1422078" cy="27386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7" name="Google Shape;230;g370fc456c4b_0_4">
              <a:extLst>
                <a:ext uri="{FF2B5EF4-FFF2-40B4-BE49-F238E27FC236}">
                  <a16:creationId xmlns:a16="http://schemas.microsoft.com/office/drawing/2014/main" id="{13588F4D-A268-7F4A-36A2-0B85E9347D1C}"/>
                </a:ext>
              </a:extLst>
            </p:cNvPr>
            <p:cNvCxnSpPr>
              <a:cxnSpLocks/>
              <a:stCxn id="88" idx="1"/>
              <a:endCxn id="86" idx="3"/>
            </p:cNvCxnSpPr>
            <p:nvPr/>
          </p:nvCxnSpPr>
          <p:spPr>
            <a:xfrm flipH="1">
              <a:off x="5478176" y="1759717"/>
              <a:ext cx="1444170" cy="38046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3DD7F424-A676-C7DE-B294-432D610462AB}"/>
                </a:ext>
              </a:extLst>
            </p:cNvPr>
            <p:cNvSpPr/>
            <p:nvPr/>
          </p:nvSpPr>
          <p:spPr>
            <a:xfrm>
              <a:off x="6922346" y="1615981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26DC216-0B36-ED52-460C-E0DFC3709867}"/>
              </a:ext>
            </a:extLst>
          </p:cNvPr>
          <p:cNvGrpSpPr/>
          <p:nvPr/>
        </p:nvGrpSpPr>
        <p:grpSpPr>
          <a:xfrm>
            <a:off x="7461264" y="1512982"/>
            <a:ext cx="2228950" cy="292287"/>
            <a:chOff x="2608510" y="1998436"/>
            <a:chExt cx="2228950" cy="292287"/>
          </a:xfrm>
        </p:grpSpPr>
        <p:sp>
          <p:nvSpPr>
            <p:cNvPr id="90" name="Google Shape;229;g370fc456c4b_0_4">
              <a:extLst>
                <a:ext uri="{FF2B5EF4-FFF2-40B4-BE49-F238E27FC236}">
                  <a16:creationId xmlns:a16="http://schemas.microsoft.com/office/drawing/2014/main" id="{74C4B0AD-A059-B658-7DA7-455AC361CD50}"/>
                </a:ext>
              </a:extLst>
            </p:cNvPr>
            <p:cNvSpPr/>
            <p:nvPr/>
          </p:nvSpPr>
          <p:spPr>
            <a:xfrm>
              <a:off x="4056098" y="2003250"/>
              <a:ext cx="781362" cy="28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1" name="Google Shape;230;g370fc456c4b_0_4">
              <a:extLst>
                <a:ext uri="{FF2B5EF4-FFF2-40B4-BE49-F238E27FC236}">
                  <a16:creationId xmlns:a16="http://schemas.microsoft.com/office/drawing/2014/main" id="{8F01E833-DCA4-8AA6-7D73-A42E4E7233CA}"/>
                </a:ext>
              </a:extLst>
            </p:cNvPr>
            <p:cNvCxnSpPr>
              <a:cxnSpLocks/>
              <a:endCxn id="90" idx="1"/>
            </p:cNvCxnSpPr>
            <p:nvPr/>
          </p:nvCxnSpPr>
          <p:spPr>
            <a:xfrm>
              <a:off x="3578931" y="2146987"/>
              <a:ext cx="47716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814B028A-F4BD-6C03-7D20-549CADB27C9E}"/>
                </a:ext>
              </a:extLst>
            </p:cNvPr>
            <p:cNvSpPr/>
            <p:nvPr/>
          </p:nvSpPr>
          <p:spPr>
            <a:xfrm>
              <a:off x="2608510" y="1998436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28FF3B1-24CE-5AC6-A3AD-7094D63924E6}"/>
              </a:ext>
            </a:extLst>
          </p:cNvPr>
          <p:cNvGrpSpPr/>
          <p:nvPr/>
        </p:nvGrpSpPr>
        <p:grpSpPr>
          <a:xfrm>
            <a:off x="4689823" y="3155931"/>
            <a:ext cx="3092897" cy="559486"/>
            <a:chOff x="4056098" y="2054710"/>
            <a:chExt cx="3092897" cy="559486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F58EAA37-BE28-82BC-A265-D6E7AE8A0B47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42BCE84-E747-D4E9-73A0-CC0286DB5CC0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 flipV="1">
              <a:off x="4371947" y="2143991"/>
              <a:ext cx="1760223" cy="32646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9F476955-5F47-8CE0-C76E-AEFD789F6A87}"/>
                </a:ext>
              </a:extLst>
            </p:cNvPr>
            <p:cNvSpPr/>
            <p:nvPr/>
          </p:nvSpPr>
          <p:spPr>
            <a:xfrm>
              <a:off x="6132170" y="2326724"/>
              <a:ext cx="101682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2CE56E9-ED2D-9822-D300-5B5FB65239B0}"/>
              </a:ext>
            </a:extLst>
          </p:cNvPr>
          <p:cNvGrpSpPr/>
          <p:nvPr/>
        </p:nvGrpSpPr>
        <p:grpSpPr>
          <a:xfrm>
            <a:off x="5053054" y="3959548"/>
            <a:ext cx="2692968" cy="785743"/>
            <a:chOff x="4104304" y="1520985"/>
            <a:chExt cx="2692968" cy="785743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0E435FC6-B906-99FF-BABC-816BB1DD2FCB}"/>
                </a:ext>
              </a:extLst>
            </p:cNvPr>
            <p:cNvSpPr/>
            <p:nvPr/>
          </p:nvSpPr>
          <p:spPr>
            <a:xfrm>
              <a:off x="4104304" y="2139750"/>
              <a:ext cx="298473" cy="1669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1A2D5134-06AE-364C-93F3-78188A4FB196}"/>
                </a:ext>
              </a:extLst>
            </p:cNvPr>
            <p:cNvCxnSpPr>
              <a:cxnSpLocks/>
              <a:stCxn id="100" idx="1"/>
              <a:endCxn id="98" idx="0"/>
            </p:cNvCxnSpPr>
            <p:nvPr/>
          </p:nvCxnSpPr>
          <p:spPr>
            <a:xfrm flipH="1">
              <a:off x="4253541" y="1664721"/>
              <a:ext cx="1600304" cy="47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316F16C7-71D8-B87A-1847-075ABD8C8454}"/>
                </a:ext>
              </a:extLst>
            </p:cNvPr>
            <p:cNvSpPr/>
            <p:nvPr/>
          </p:nvSpPr>
          <p:spPr>
            <a:xfrm>
              <a:off x="5853845" y="1520985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21991D6-3025-0F61-AEFA-7DD932A42C52}"/>
              </a:ext>
            </a:extLst>
          </p:cNvPr>
          <p:cNvGrpSpPr/>
          <p:nvPr/>
        </p:nvGrpSpPr>
        <p:grpSpPr>
          <a:xfrm>
            <a:off x="11569349" y="1131427"/>
            <a:ext cx="580244" cy="958820"/>
            <a:chOff x="3732280" y="1979284"/>
            <a:chExt cx="580244" cy="958820"/>
          </a:xfrm>
        </p:grpSpPr>
        <p:sp>
          <p:nvSpPr>
            <p:cNvPr id="102" name="Google Shape;229;g370fc456c4b_0_4">
              <a:extLst>
                <a:ext uri="{FF2B5EF4-FFF2-40B4-BE49-F238E27FC236}">
                  <a16:creationId xmlns:a16="http://schemas.microsoft.com/office/drawing/2014/main" id="{27E4F0BD-EBC8-5320-0028-1718F64F4B5D}"/>
                </a:ext>
              </a:extLst>
            </p:cNvPr>
            <p:cNvSpPr/>
            <p:nvPr/>
          </p:nvSpPr>
          <p:spPr>
            <a:xfrm>
              <a:off x="4105790" y="1979284"/>
              <a:ext cx="206734" cy="21631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3" name="Google Shape;230;g370fc456c4b_0_4">
              <a:extLst>
                <a:ext uri="{FF2B5EF4-FFF2-40B4-BE49-F238E27FC236}">
                  <a16:creationId xmlns:a16="http://schemas.microsoft.com/office/drawing/2014/main" id="{FAECE26B-DEBD-97E3-5C2A-B34BDDD025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60764" y="2195603"/>
              <a:ext cx="166612" cy="45270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156AB620-7622-60DE-8A13-9437394DB012}"/>
                </a:ext>
              </a:extLst>
            </p:cNvPr>
            <p:cNvSpPr/>
            <p:nvPr/>
          </p:nvSpPr>
          <p:spPr>
            <a:xfrm>
              <a:off x="3732280" y="2650632"/>
              <a:ext cx="58024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B5CE217-2B84-F053-0AE0-D8E72D3DD8B6}"/>
              </a:ext>
            </a:extLst>
          </p:cNvPr>
          <p:cNvGrpSpPr/>
          <p:nvPr/>
        </p:nvGrpSpPr>
        <p:grpSpPr>
          <a:xfrm>
            <a:off x="5458504" y="4387901"/>
            <a:ext cx="2110574" cy="357210"/>
            <a:chOff x="6549987" y="3471331"/>
            <a:chExt cx="2110574" cy="357210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4768C1A2-F8A5-FE5A-D2F3-9B56A536C56C}"/>
                </a:ext>
              </a:extLst>
            </p:cNvPr>
            <p:cNvSpPr/>
            <p:nvPr/>
          </p:nvSpPr>
          <p:spPr>
            <a:xfrm>
              <a:off x="6549987" y="3661563"/>
              <a:ext cx="159026" cy="1669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D7AA7F14-A476-A3A8-A72C-9E4575715E8D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6709013" y="3579491"/>
              <a:ext cx="1185065" cy="1655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7210B5D4-AF84-D53E-52A9-9A9CC7AA322C}"/>
                </a:ext>
              </a:extLst>
            </p:cNvPr>
            <p:cNvSpPr/>
            <p:nvPr/>
          </p:nvSpPr>
          <p:spPr>
            <a:xfrm>
              <a:off x="7894078" y="3471331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5AF899B-4F73-1CEB-C644-7C125395EC75}"/>
              </a:ext>
            </a:extLst>
          </p:cNvPr>
          <p:cNvGrpSpPr/>
          <p:nvPr/>
        </p:nvGrpSpPr>
        <p:grpSpPr>
          <a:xfrm>
            <a:off x="3490971" y="4349524"/>
            <a:ext cx="1337995" cy="216320"/>
            <a:chOff x="4734833" y="3401314"/>
            <a:chExt cx="1337995" cy="216320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5BF7BDA2-5A33-9676-72A1-C3EAFC017474}"/>
                </a:ext>
              </a:extLst>
            </p:cNvPr>
            <p:cNvSpPr/>
            <p:nvPr/>
          </p:nvSpPr>
          <p:spPr>
            <a:xfrm>
              <a:off x="5933685" y="3442705"/>
              <a:ext cx="139143" cy="1245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4408B703-D5AF-CB44-E74C-8F7A042C0F28}"/>
                </a:ext>
              </a:extLst>
            </p:cNvPr>
            <p:cNvCxnSpPr>
              <a:cxnSpLocks/>
              <a:stCxn id="112" idx="3"/>
              <a:endCxn id="110" idx="1"/>
            </p:cNvCxnSpPr>
            <p:nvPr/>
          </p:nvCxnSpPr>
          <p:spPr>
            <a:xfrm flipV="1">
              <a:off x="5630597" y="3504983"/>
              <a:ext cx="303088" cy="44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2DF0A326-E054-AC79-8D64-927EC4ED0BB1}"/>
                </a:ext>
              </a:extLst>
            </p:cNvPr>
            <p:cNvSpPr/>
            <p:nvPr/>
          </p:nvSpPr>
          <p:spPr>
            <a:xfrm>
              <a:off x="4734833" y="3401314"/>
              <a:ext cx="8957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Comple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D3F438F-468B-7A5C-C97E-4A4568D81DEA}"/>
              </a:ext>
            </a:extLst>
          </p:cNvPr>
          <p:cNvGrpSpPr/>
          <p:nvPr/>
        </p:nvGrpSpPr>
        <p:grpSpPr>
          <a:xfrm>
            <a:off x="5315385" y="4747957"/>
            <a:ext cx="2734935" cy="287472"/>
            <a:chOff x="4130148" y="2092580"/>
            <a:chExt cx="2734935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DB95DCA1-F9C0-4624-2C20-6AB8A9B6BDB9}"/>
                </a:ext>
              </a:extLst>
            </p:cNvPr>
            <p:cNvSpPr/>
            <p:nvPr/>
          </p:nvSpPr>
          <p:spPr>
            <a:xfrm>
              <a:off x="4130148" y="2139749"/>
              <a:ext cx="389977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7960A1D8-DF2D-CB1B-12A2-19C0024AC07B}"/>
                </a:ext>
              </a:extLst>
            </p:cNvPr>
            <p:cNvCxnSpPr>
              <a:cxnSpLocks/>
              <a:stCxn id="116" idx="1"/>
              <a:endCxn id="114" idx="3"/>
            </p:cNvCxnSpPr>
            <p:nvPr/>
          </p:nvCxnSpPr>
          <p:spPr>
            <a:xfrm flipH="1" flipV="1">
              <a:off x="4520125" y="2230607"/>
              <a:ext cx="1106448" cy="570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D5A87A3E-DC39-C71F-FDF5-77910605BF23}"/>
                </a:ext>
              </a:extLst>
            </p:cNvPr>
            <p:cNvSpPr/>
            <p:nvPr/>
          </p:nvSpPr>
          <p:spPr>
            <a:xfrm>
              <a:off x="5626573" y="209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1C57EA3-8AD7-C9FD-4B23-009DC08F0FAA}"/>
              </a:ext>
            </a:extLst>
          </p:cNvPr>
          <p:cNvGrpSpPr/>
          <p:nvPr/>
        </p:nvGrpSpPr>
        <p:grpSpPr>
          <a:xfrm>
            <a:off x="3138532" y="4728986"/>
            <a:ext cx="2176853" cy="287472"/>
            <a:chOff x="2371005" y="2642580"/>
            <a:chExt cx="2176853" cy="287472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5110F1A3-58DC-CB39-20E8-3317CB8B2E43}"/>
                </a:ext>
              </a:extLst>
            </p:cNvPr>
            <p:cNvSpPr/>
            <p:nvPr/>
          </p:nvSpPr>
          <p:spPr>
            <a:xfrm>
              <a:off x="3922296" y="2703446"/>
              <a:ext cx="625562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A6E47532-7112-4011-E68B-D4BB561F0182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3609515" y="2786316"/>
              <a:ext cx="312781" cy="79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7782E5B0-6EB0-1DF3-5BDB-960F717EE643}"/>
                </a:ext>
              </a:extLst>
            </p:cNvPr>
            <p:cNvSpPr/>
            <p:nvPr/>
          </p:nvSpPr>
          <p:spPr>
            <a:xfrm>
              <a:off x="2371005" y="264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</a:t>
              </a:r>
              <a:endParaRPr lang="en-US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AF6665F-0CDD-F47D-D49F-D5BC29860EE9}"/>
              </a:ext>
            </a:extLst>
          </p:cNvPr>
          <p:cNvGrpSpPr/>
          <p:nvPr/>
        </p:nvGrpSpPr>
        <p:grpSpPr>
          <a:xfrm>
            <a:off x="9950884" y="1098001"/>
            <a:ext cx="1697082" cy="992246"/>
            <a:chOff x="2678210" y="1945858"/>
            <a:chExt cx="1697082" cy="992246"/>
          </a:xfrm>
        </p:grpSpPr>
        <p:sp>
          <p:nvSpPr>
            <p:cNvPr id="122" name="Google Shape;229;g370fc456c4b_0_4">
              <a:extLst>
                <a:ext uri="{FF2B5EF4-FFF2-40B4-BE49-F238E27FC236}">
                  <a16:creationId xmlns:a16="http://schemas.microsoft.com/office/drawing/2014/main" id="{371BD6BF-642C-5EC9-D787-467F8F2693CE}"/>
                </a:ext>
              </a:extLst>
            </p:cNvPr>
            <p:cNvSpPr/>
            <p:nvPr/>
          </p:nvSpPr>
          <p:spPr>
            <a:xfrm>
              <a:off x="4105789" y="1945858"/>
              <a:ext cx="269503" cy="2497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3" name="Google Shape;230;g370fc456c4b_0_4">
              <a:extLst>
                <a:ext uri="{FF2B5EF4-FFF2-40B4-BE49-F238E27FC236}">
                  <a16:creationId xmlns:a16="http://schemas.microsoft.com/office/drawing/2014/main" id="{830FC07B-5023-F204-E547-1CC01DD8FB9E}"/>
                </a:ext>
              </a:extLst>
            </p:cNvPr>
            <p:cNvCxnSpPr>
              <a:cxnSpLocks/>
              <a:stCxn id="124" idx="0"/>
            </p:cNvCxnSpPr>
            <p:nvPr/>
          </p:nvCxnSpPr>
          <p:spPr>
            <a:xfrm flipV="1">
              <a:off x="3284908" y="2195603"/>
              <a:ext cx="942468" cy="45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A09DF973-2BAC-46A8-B577-8FA55E4D1D86}"/>
                </a:ext>
              </a:extLst>
            </p:cNvPr>
            <p:cNvSpPr/>
            <p:nvPr/>
          </p:nvSpPr>
          <p:spPr>
            <a:xfrm>
              <a:off x="2678210" y="2650632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F949B20-9757-D0D5-51B4-0FD0D8E554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5421" y="2257200"/>
            <a:ext cx="2214025" cy="1792306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F513D13-FF20-EB9F-F5CB-16A09849682F}"/>
              </a:ext>
            </a:extLst>
          </p:cNvPr>
          <p:cNvGrpSpPr/>
          <p:nvPr/>
        </p:nvGrpSpPr>
        <p:grpSpPr>
          <a:xfrm>
            <a:off x="8014862" y="3151687"/>
            <a:ext cx="2110574" cy="1311653"/>
            <a:chOff x="6549987" y="3661563"/>
            <a:chExt cx="2110574" cy="1311653"/>
          </a:xfrm>
        </p:grpSpPr>
        <p:sp>
          <p:nvSpPr>
            <p:cNvPr id="138" name="Google Shape;229;g370fc456c4b_0_4">
              <a:extLst>
                <a:ext uri="{FF2B5EF4-FFF2-40B4-BE49-F238E27FC236}">
                  <a16:creationId xmlns:a16="http://schemas.microsoft.com/office/drawing/2014/main" id="{E056CDAF-5646-C741-F461-D20FC780C674}"/>
                </a:ext>
              </a:extLst>
            </p:cNvPr>
            <p:cNvSpPr/>
            <p:nvPr/>
          </p:nvSpPr>
          <p:spPr>
            <a:xfrm>
              <a:off x="6549987" y="3661563"/>
              <a:ext cx="2110574" cy="56373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9" name="Google Shape;230;g370fc456c4b_0_4">
              <a:extLst>
                <a:ext uri="{FF2B5EF4-FFF2-40B4-BE49-F238E27FC236}">
                  <a16:creationId xmlns:a16="http://schemas.microsoft.com/office/drawing/2014/main" id="{7A776CDB-A2E8-4CA9-8130-5AC542566D17}"/>
                </a:ext>
              </a:extLst>
            </p:cNvPr>
            <p:cNvCxnSpPr>
              <a:cxnSpLocks/>
              <a:endCxn id="138" idx="2"/>
            </p:cNvCxnSpPr>
            <p:nvPr/>
          </p:nvCxnSpPr>
          <p:spPr>
            <a:xfrm flipV="1">
              <a:off x="7605274" y="4225293"/>
              <a:ext cx="0" cy="5316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5445332B-65BA-7F0D-63B5-98EAE6FC9194}"/>
                </a:ext>
              </a:extLst>
            </p:cNvPr>
            <p:cNvSpPr/>
            <p:nvPr/>
          </p:nvSpPr>
          <p:spPr>
            <a:xfrm>
              <a:off x="7222032" y="4756896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080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BF4EEF-2DF9-41C3-7792-A6A74633516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530952-2482-74AC-D2D9-CC99D4037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FE4C7E-7CEC-F0F3-AD3F-983E40214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399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6DFAF37-36A1-A817-18F7-9B949EFC2133}"/>
              </a:ext>
            </a:extLst>
          </p:cNvPr>
          <p:cNvGrpSpPr/>
          <p:nvPr/>
        </p:nvGrpSpPr>
        <p:grpSpPr>
          <a:xfrm>
            <a:off x="694468" y="1483849"/>
            <a:ext cx="9676125" cy="5098846"/>
            <a:chOff x="2899185" y="2003250"/>
            <a:chExt cx="9676125" cy="5098846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8D9BE8B9-0F07-0D0D-3EAA-55ABDB64F95B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DC30BF09-91D0-CBFE-4C88-029858403D2D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>
              <a:off x="3571563" y="2696580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52D3E1-225C-0FB9-F4E0-3187A99323C2}"/>
                </a:ext>
              </a:extLst>
            </p:cNvPr>
            <p:cNvSpPr/>
            <p:nvPr/>
          </p:nvSpPr>
          <p:spPr>
            <a:xfrm>
              <a:off x="2899185" y="2552844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B65F07-7F7C-E859-C709-5D368C1191F9}"/>
              </a:ext>
            </a:extLst>
          </p:cNvPr>
          <p:cNvGrpSpPr/>
          <p:nvPr/>
        </p:nvGrpSpPr>
        <p:grpSpPr>
          <a:xfrm>
            <a:off x="630409" y="3898156"/>
            <a:ext cx="3598254" cy="998883"/>
            <a:chOff x="2042681" y="1919594"/>
            <a:chExt cx="3598254" cy="998883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78D34FE6-6575-3B95-0121-F88DDE894859}"/>
                </a:ext>
              </a:extLst>
            </p:cNvPr>
            <p:cNvSpPr/>
            <p:nvPr/>
          </p:nvSpPr>
          <p:spPr>
            <a:xfrm>
              <a:off x="5065439" y="1919594"/>
              <a:ext cx="575496" cy="27023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6DECA183-C462-0D2B-7A9E-A0CE2073F13F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flipV="1">
              <a:off x="2723317" y="2189826"/>
              <a:ext cx="2629870" cy="5849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336F45F-C870-8CCD-A703-6153BDFDE5EC}"/>
                </a:ext>
              </a:extLst>
            </p:cNvPr>
            <p:cNvSpPr/>
            <p:nvPr/>
          </p:nvSpPr>
          <p:spPr>
            <a:xfrm>
              <a:off x="2042681" y="2631005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05C64C-0827-E6BF-D292-33827B0BEA75}"/>
              </a:ext>
            </a:extLst>
          </p:cNvPr>
          <p:cNvGrpSpPr/>
          <p:nvPr/>
        </p:nvGrpSpPr>
        <p:grpSpPr>
          <a:xfrm>
            <a:off x="344740" y="3462066"/>
            <a:ext cx="5252977" cy="958857"/>
            <a:chOff x="598531" y="1363940"/>
            <a:chExt cx="5252977" cy="958857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A281EC3F-A407-EA97-7B30-0B176B782666}"/>
                </a:ext>
              </a:extLst>
            </p:cNvPr>
            <p:cNvSpPr/>
            <p:nvPr/>
          </p:nvSpPr>
          <p:spPr>
            <a:xfrm>
              <a:off x="3442263" y="1520076"/>
              <a:ext cx="2409245" cy="80272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BB1B90E2-FF71-8D3A-3CA2-993F8FDA094D}"/>
                </a:ext>
              </a:extLst>
            </p:cNvPr>
            <p:cNvCxnSpPr>
              <a:cxnSpLocks/>
              <a:stCxn id="19" idx="3"/>
            </p:cNvCxnSpPr>
            <p:nvPr/>
          </p:nvCxnSpPr>
          <p:spPr>
            <a:xfrm>
              <a:off x="1636559" y="1507676"/>
              <a:ext cx="1473586" cy="13088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E5D37EF-C4E3-4959-9BB2-7B0F9A07E8C9}"/>
                </a:ext>
              </a:extLst>
            </p:cNvPr>
            <p:cNvSpPr/>
            <p:nvPr/>
          </p:nvSpPr>
          <p:spPr>
            <a:xfrm>
              <a:off x="598531" y="1363940"/>
              <a:ext cx="1038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abel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EA5F8B9-ABB9-53D7-A600-7795B05C8FB8}"/>
              </a:ext>
            </a:extLst>
          </p:cNvPr>
          <p:cNvGrpSpPr/>
          <p:nvPr/>
        </p:nvGrpSpPr>
        <p:grpSpPr>
          <a:xfrm>
            <a:off x="1999804" y="1526691"/>
            <a:ext cx="1653363" cy="287472"/>
            <a:chOff x="6580814" y="4323685"/>
            <a:chExt cx="1653363" cy="287472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245B830-A525-F479-697A-DAA2E69213F8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6AE20E8B-4534-7883-1DA5-072216FAF8B1}"/>
                </a:ext>
              </a:extLst>
            </p:cNvPr>
            <p:cNvCxnSpPr>
              <a:cxnSpLocks/>
              <a:endCxn id="21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6DBD470-ACB3-19BC-AC3B-F068A478BBEF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AF03E1-C8F5-B4B8-9C23-226F1ECEBEB0}"/>
              </a:ext>
            </a:extLst>
          </p:cNvPr>
          <p:cNvGrpSpPr/>
          <p:nvPr/>
        </p:nvGrpSpPr>
        <p:grpSpPr>
          <a:xfrm>
            <a:off x="2478752" y="2023715"/>
            <a:ext cx="2762383" cy="287472"/>
            <a:chOff x="6527964" y="4323685"/>
            <a:chExt cx="2762383" cy="287472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6A80C88C-7D3D-D2AF-C7B8-DA3880A079B3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F6B8CE5E-FAD5-83B2-D776-72E85EA7FB00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8A7E582-4BD8-D76C-8963-934B2390E159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9D6C2E9-4367-0067-8DF8-59FD9EBDD149}"/>
              </a:ext>
            </a:extLst>
          </p:cNvPr>
          <p:cNvSpPr/>
          <p:nvPr/>
        </p:nvSpPr>
        <p:spPr>
          <a:xfrm>
            <a:off x="698992" y="146872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AB260-D264-3B12-266A-AF736180FD89}"/>
              </a:ext>
            </a:extLst>
          </p:cNvPr>
          <p:cNvGrpSpPr/>
          <p:nvPr/>
        </p:nvGrpSpPr>
        <p:grpSpPr>
          <a:xfrm>
            <a:off x="4761639" y="2781730"/>
            <a:ext cx="870678" cy="1565121"/>
            <a:chOff x="5017867" y="779843"/>
            <a:chExt cx="870678" cy="1565121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C6D2D7FE-E245-1BF8-988F-B0DA793DD29C}"/>
                </a:ext>
              </a:extLst>
            </p:cNvPr>
            <p:cNvSpPr/>
            <p:nvPr/>
          </p:nvSpPr>
          <p:spPr>
            <a:xfrm>
              <a:off x="5017867" y="1760049"/>
              <a:ext cx="479496" cy="5849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85550ABB-ECFC-21CE-75D0-C7C3A8C21530}"/>
                </a:ext>
              </a:extLst>
            </p:cNvPr>
            <p:cNvCxnSpPr>
              <a:cxnSpLocks/>
              <a:stCxn id="38" idx="2"/>
              <a:endCxn id="36" idx="0"/>
            </p:cNvCxnSpPr>
            <p:nvPr/>
          </p:nvCxnSpPr>
          <p:spPr>
            <a:xfrm flipH="1">
              <a:off x="5257615" y="1067315"/>
              <a:ext cx="290612" cy="6927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358077FF-4CAF-5596-74D0-0D2F083B296E}"/>
                </a:ext>
              </a:extLst>
            </p:cNvPr>
            <p:cNvSpPr/>
            <p:nvPr/>
          </p:nvSpPr>
          <p:spPr>
            <a:xfrm>
              <a:off x="5207909" y="779843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5633448-11FD-FB6A-3F94-B760B6596741}"/>
              </a:ext>
            </a:extLst>
          </p:cNvPr>
          <p:cNvGrpSpPr/>
          <p:nvPr/>
        </p:nvGrpSpPr>
        <p:grpSpPr>
          <a:xfrm>
            <a:off x="4848307" y="3210938"/>
            <a:ext cx="1759227" cy="927012"/>
            <a:chOff x="6607272" y="3631596"/>
            <a:chExt cx="1759227" cy="92701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D12D096-33B4-CD56-C6B2-73D501E638DA}"/>
                </a:ext>
              </a:extLst>
            </p:cNvPr>
            <p:cNvSpPr/>
            <p:nvPr/>
          </p:nvSpPr>
          <p:spPr>
            <a:xfrm>
              <a:off x="6607272" y="4374444"/>
              <a:ext cx="211303" cy="1841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5D601521-B467-7F12-9E31-BD5878A5EC7A}"/>
                </a:ext>
              </a:extLst>
            </p:cNvPr>
            <p:cNvCxnSpPr>
              <a:cxnSpLocks/>
              <a:stCxn id="48" idx="1"/>
              <a:endCxn id="46" idx="3"/>
            </p:cNvCxnSpPr>
            <p:nvPr/>
          </p:nvCxnSpPr>
          <p:spPr>
            <a:xfrm flipH="1">
              <a:off x="6818575" y="3775332"/>
              <a:ext cx="661536" cy="6911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9BE7E1A-1E4D-C08E-E9B4-CD738F65C186}"/>
                </a:ext>
              </a:extLst>
            </p:cNvPr>
            <p:cNvSpPr/>
            <p:nvPr/>
          </p:nvSpPr>
          <p:spPr>
            <a:xfrm>
              <a:off x="7480111" y="3631596"/>
              <a:ext cx="88638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45D5321-A4B7-6821-472A-B12BE2D060D7}"/>
              </a:ext>
            </a:extLst>
          </p:cNvPr>
          <p:cNvGrpSpPr/>
          <p:nvPr/>
        </p:nvGrpSpPr>
        <p:grpSpPr>
          <a:xfrm>
            <a:off x="4833404" y="3637863"/>
            <a:ext cx="1901351" cy="546713"/>
            <a:chOff x="6438970" y="3934708"/>
            <a:chExt cx="1901351" cy="546713"/>
          </a:xfrm>
        </p:grpSpPr>
        <p:sp>
          <p:nvSpPr>
            <p:cNvPr id="57" name="Google Shape;229;g370fc456c4b_0_4">
              <a:extLst>
                <a:ext uri="{FF2B5EF4-FFF2-40B4-BE49-F238E27FC236}">
                  <a16:creationId xmlns:a16="http://schemas.microsoft.com/office/drawing/2014/main" id="{F4F68E05-6732-FAED-316E-54E7BCF905D3}"/>
                </a:ext>
              </a:extLst>
            </p:cNvPr>
            <p:cNvSpPr/>
            <p:nvPr/>
          </p:nvSpPr>
          <p:spPr>
            <a:xfrm>
              <a:off x="6438970" y="4202514"/>
              <a:ext cx="379605" cy="27890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8" name="Google Shape;230;g370fc456c4b_0_4">
              <a:extLst>
                <a:ext uri="{FF2B5EF4-FFF2-40B4-BE49-F238E27FC236}">
                  <a16:creationId xmlns:a16="http://schemas.microsoft.com/office/drawing/2014/main" id="{586DF30A-C0A2-E4A3-F831-ADB408DFBD34}"/>
                </a:ext>
              </a:extLst>
            </p:cNvPr>
            <p:cNvCxnSpPr>
              <a:cxnSpLocks/>
              <a:stCxn id="59" idx="1"/>
              <a:endCxn id="57" idx="3"/>
            </p:cNvCxnSpPr>
            <p:nvPr/>
          </p:nvCxnSpPr>
          <p:spPr>
            <a:xfrm flipH="1">
              <a:off x="6818575" y="4078444"/>
              <a:ext cx="508138" cy="2635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0C8E27F-B83D-4DC5-0608-E09F0ACD70AD}"/>
                </a:ext>
              </a:extLst>
            </p:cNvPr>
            <p:cNvSpPr/>
            <p:nvPr/>
          </p:nvSpPr>
          <p:spPr>
            <a:xfrm>
              <a:off x="7326713" y="3934708"/>
              <a:ext cx="101360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B6C1663-83D4-64F2-C358-19F24D8AC459}"/>
              </a:ext>
            </a:extLst>
          </p:cNvPr>
          <p:cNvGrpSpPr/>
          <p:nvPr/>
        </p:nvGrpSpPr>
        <p:grpSpPr>
          <a:xfrm>
            <a:off x="7249217" y="3470707"/>
            <a:ext cx="4830535" cy="287472"/>
            <a:chOff x="5017866" y="1714038"/>
            <a:chExt cx="4830535" cy="287472"/>
          </a:xfrm>
        </p:grpSpPr>
        <p:sp>
          <p:nvSpPr>
            <p:cNvPr id="71" name="Google Shape;229;g370fc456c4b_0_4">
              <a:extLst>
                <a:ext uri="{FF2B5EF4-FFF2-40B4-BE49-F238E27FC236}">
                  <a16:creationId xmlns:a16="http://schemas.microsoft.com/office/drawing/2014/main" id="{6A3B7D7B-5638-179E-60CA-49C4D386ED4B}"/>
                </a:ext>
              </a:extLst>
            </p:cNvPr>
            <p:cNvSpPr/>
            <p:nvPr/>
          </p:nvSpPr>
          <p:spPr>
            <a:xfrm>
              <a:off x="5017866" y="1760050"/>
              <a:ext cx="3015917" cy="19544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2" name="Google Shape;230;g370fc456c4b_0_4">
              <a:extLst>
                <a:ext uri="{FF2B5EF4-FFF2-40B4-BE49-F238E27FC236}">
                  <a16:creationId xmlns:a16="http://schemas.microsoft.com/office/drawing/2014/main" id="{5E68BCAB-C102-AC0A-F22A-C015250E94E0}"/>
                </a:ext>
              </a:extLst>
            </p:cNvPr>
            <p:cNvCxnSpPr>
              <a:cxnSpLocks/>
              <a:stCxn id="73" idx="1"/>
              <a:endCxn id="71" idx="3"/>
            </p:cNvCxnSpPr>
            <p:nvPr/>
          </p:nvCxnSpPr>
          <p:spPr>
            <a:xfrm flipH="1">
              <a:off x="8033783" y="1857774"/>
              <a:ext cx="703733" cy="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AFEBA5C-5068-4B13-106F-C5C4387E2CEA}"/>
                </a:ext>
              </a:extLst>
            </p:cNvPr>
            <p:cNvSpPr/>
            <p:nvPr/>
          </p:nvSpPr>
          <p:spPr>
            <a:xfrm>
              <a:off x="8737516" y="1714038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A01AC88-613A-486B-6EC8-8CDD12E19539}"/>
              </a:ext>
            </a:extLst>
          </p:cNvPr>
          <p:cNvGrpSpPr/>
          <p:nvPr/>
        </p:nvGrpSpPr>
        <p:grpSpPr>
          <a:xfrm>
            <a:off x="7270922" y="3836168"/>
            <a:ext cx="4808830" cy="558107"/>
            <a:chOff x="5017867" y="1760051"/>
            <a:chExt cx="4808830" cy="558107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85129228-0ECF-44B3-7454-3E43762BA4EC}"/>
                </a:ext>
              </a:extLst>
            </p:cNvPr>
            <p:cNvSpPr/>
            <p:nvPr/>
          </p:nvSpPr>
          <p:spPr>
            <a:xfrm>
              <a:off x="5017867" y="1760051"/>
              <a:ext cx="378234" cy="18339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8C3EBC77-B795-4640-4D7D-AAED1507BB9B}"/>
                </a:ext>
              </a:extLst>
            </p:cNvPr>
            <p:cNvCxnSpPr>
              <a:cxnSpLocks/>
              <a:stCxn id="83" idx="1"/>
              <a:endCxn id="81" idx="3"/>
            </p:cNvCxnSpPr>
            <p:nvPr/>
          </p:nvCxnSpPr>
          <p:spPr>
            <a:xfrm flipH="1" flipV="1">
              <a:off x="5396101" y="1851749"/>
              <a:ext cx="3319711" cy="3226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8C58509-D823-45DE-F190-411EFBF6178D}"/>
                </a:ext>
              </a:extLst>
            </p:cNvPr>
            <p:cNvSpPr/>
            <p:nvPr/>
          </p:nvSpPr>
          <p:spPr>
            <a:xfrm>
              <a:off x="8715812" y="2030686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action</a:t>
              </a:r>
              <a:endParaRPr lang="en-US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23E4099-EFBE-CE95-275D-BC0645BD0948}"/>
              </a:ext>
            </a:extLst>
          </p:cNvPr>
          <p:cNvGrpSpPr/>
          <p:nvPr/>
        </p:nvGrpSpPr>
        <p:grpSpPr>
          <a:xfrm>
            <a:off x="1999804" y="5070601"/>
            <a:ext cx="1860141" cy="287472"/>
            <a:chOff x="6527964" y="4317286"/>
            <a:chExt cx="1860141" cy="287472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75DD7C8D-88B4-5EF9-7A43-017E45C84A75}"/>
                </a:ext>
              </a:extLst>
            </p:cNvPr>
            <p:cNvSpPr/>
            <p:nvPr/>
          </p:nvSpPr>
          <p:spPr>
            <a:xfrm>
              <a:off x="6527964" y="4355580"/>
              <a:ext cx="738963" cy="2224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42DFABE8-8889-D9F2-120F-332896F7BE3B}"/>
                </a:ext>
              </a:extLst>
            </p:cNvPr>
            <p:cNvCxnSpPr>
              <a:cxnSpLocks/>
              <a:stCxn id="94" idx="1"/>
              <a:endCxn id="92" idx="3"/>
            </p:cNvCxnSpPr>
            <p:nvPr/>
          </p:nvCxnSpPr>
          <p:spPr>
            <a:xfrm flipH="1">
              <a:off x="7266927" y="4461022"/>
              <a:ext cx="309172" cy="576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274CFDA0-5AE1-5614-4E07-3FC0FABB5CBD}"/>
                </a:ext>
              </a:extLst>
            </p:cNvPr>
            <p:cNvSpPr/>
            <p:nvPr/>
          </p:nvSpPr>
          <p:spPr>
            <a:xfrm>
              <a:off x="7576099" y="4317286"/>
              <a:ext cx="81200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D4A7C60-01EF-FC40-96D7-C10ADB4343F6}"/>
              </a:ext>
            </a:extLst>
          </p:cNvPr>
          <p:cNvGrpSpPr/>
          <p:nvPr/>
        </p:nvGrpSpPr>
        <p:grpSpPr>
          <a:xfrm>
            <a:off x="1999804" y="2591141"/>
            <a:ext cx="2228859" cy="287472"/>
            <a:chOff x="6527964" y="4318236"/>
            <a:chExt cx="2228859" cy="287472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8F68ED48-444C-F23B-796B-F3B99B07C29C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B31C7491-9620-525B-9C98-BA60BBDB8F60}"/>
                </a:ext>
              </a:extLst>
            </p:cNvPr>
            <p:cNvCxnSpPr>
              <a:cxnSpLocks/>
              <a:stCxn id="105" idx="1"/>
              <a:endCxn id="103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1381A9D0-87F6-CFD2-9810-200F52AB6EB1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62EA813-2987-D326-EA95-70E193C56C3D}"/>
              </a:ext>
            </a:extLst>
          </p:cNvPr>
          <p:cNvGrpSpPr/>
          <p:nvPr/>
        </p:nvGrpSpPr>
        <p:grpSpPr>
          <a:xfrm>
            <a:off x="467034" y="3751959"/>
            <a:ext cx="2649966" cy="478213"/>
            <a:chOff x="1799606" y="1520076"/>
            <a:chExt cx="2649966" cy="478213"/>
          </a:xfrm>
        </p:grpSpPr>
        <p:sp>
          <p:nvSpPr>
            <p:cNvPr id="113" name="Google Shape;229;g370fc456c4b_0_4">
              <a:extLst>
                <a:ext uri="{FF2B5EF4-FFF2-40B4-BE49-F238E27FC236}">
                  <a16:creationId xmlns:a16="http://schemas.microsoft.com/office/drawing/2014/main" id="{A9D04126-0F7E-1A69-D0AF-39CA8A851C89}"/>
                </a:ext>
              </a:extLst>
            </p:cNvPr>
            <p:cNvSpPr/>
            <p:nvPr/>
          </p:nvSpPr>
          <p:spPr>
            <a:xfrm>
              <a:off x="3565236" y="1520076"/>
              <a:ext cx="884336" cy="47821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4" name="Google Shape;230;g370fc456c4b_0_4">
              <a:extLst>
                <a:ext uri="{FF2B5EF4-FFF2-40B4-BE49-F238E27FC236}">
                  <a16:creationId xmlns:a16="http://schemas.microsoft.com/office/drawing/2014/main" id="{CD8F7D08-5E33-4F97-7350-3B1944051642}"/>
                </a:ext>
              </a:extLst>
            </p:cNvPr>
            <p:cNvCxnSpPr>
              <a:cxnSpLocks/>
              <a:stCxn id="115" idx="3"/>
            </p:cNvCxnSpPr>
            <p:nvPr/>
          </p:nvCxnSpPr>
          <p:spPr>
            <a:xfrm flipV="1">
              <a:off x="2699417" y="1751720"/>
              <a:ext cx="865818" cy="2736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6E0A5C31-9D20-540F-FB7D-34734C77A120}"/>
                </a:ext>
              </a:extLst>
            </p:cNvPr>
            <p:cNvSpPr/>
            <p:nvPr/>
          </p:nvSpPr>
          <p:spPr>
            <a:xfrm>
              <a:off x="1799606" y="1635347"/>
              <a:ext cx="8998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83214D3A-0040-CA10-8B9B-7E811CD518EA}"/>
              </a:ext>
            </a:extLst>
          </p:cNvPr>
          <p:cNvSpPr/>
          <p:nvPr/>
        </p:nvSpPr>
        <p:spPr>
          <a:xfrm>
            <a:off x="455985" y="2594225"/>
            <a:ext cx="910860" cy="281303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019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404</TotalTime>
  <Words>2091</Words>
  <Application>Microsoft Office PowerPoint</Application>
  <PresentationFormat>Widescreen</PresentationFormat>
  <Paragraphs>356</Paragraphs>
  <Slides>26</Slides>
  <Notes>18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FUNCTIONS IN THE TRELLO SYSTEM</vt:lpstr>
      <vt:lpstr>Agenda</vt:lpstr>
      <vt:lpstr>Introduction</vt:lpstr>
      <vt:lpstr>Key Functionalities </vt:lpstr>
      <vt:lpstr>BOARDS TAB IN TRELLO SYSTEM</vt:lpstr>
      <vt:lpstr>WORKSPACE IN TRELLO SYSTEM</vt:lpstr>
      <vt:lpstr>BOARD IN TRELLO SYSTEM</vt:lpstr>
      <vt:lpstr>CARD IN TRELLO SYSTEM</vt:lpstr>
      <vt:lpstr>CARD IN TRELLO SYSTEM</vt:lpstr>
      <vt:lpstr>CARD IN TRELLO SYSTEM</vt:lpstr>
      <vt:lpstr>CARD IN TRELLO SYSTEM</vt:lpstr>
      <vt:lpstr>TEMPLATE TAB IN TRELLO SYSTEM</vt:lpstr>
      <vt:lpstr>TEMPLATE TAB IN TRELLO SYSTEM</vt:lpstr>
      <vt:lpstr>TEMPLATE TAB IN TRELLO SYSTEM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74</cp:revision>
  <dcterms:created xsi:type="dcterms:W3CDTF">2025-07-10T03:51:23Z</dcterms:created>
  <dcterms:modified xsi:type="dcterms:W3CDTF">2025-08-08T09:18:55Z</dcterms:modified>
</cp:coreProperties>
</file>